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heme/theme2.xml" ContentType="application/vnd.openxmlformats-officedocument.theme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theme/theme3.xml" ContentType="application/vnd.openxmlformats-officedocument.theme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theme/theme4.xml" ContentType="application/vnd.openxmlformats-officedocument.theme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theme/theme5.xml" ContentType="application/vnd.openxmlformats-officedocument.theme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theme/theme6.xml" ContentType="application/vnd.openxmlformats-officedocument.theme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theme/theme7.xml" ContentType="application/vnd.openxmlformats-officedocument.theme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theme/theme8.xml" ContentType="application/vnd.openxmlformats-officedocument.theme+xml"/>
  <Override PartName="/ppt/tags/tag2.xml" ContentType="application/vnd.openxmlformats-officedocument.presentationml.tags+xml"/>
  <Override PartName="/ppt/theme/theme9.xml" ContentType="application/vnd.openxmlformats-officedocument.theme+xml"/>
  <Override PartName="/ppt/theme/theme10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3.xml" ContentType="application/vnd.openxmlformats-officedocument.presentationml.tags+xml"/>
  <Override PartName="/ppt/notesSlides/notesSlide4.xml" ContentType="application/vnd.openxmlformats-officedocument.presentationml.notesSlide+xml"/>
  <Override PartName="/ppt/tags/tag4.xml" ContentType="application/vnd.openxmlformats-officedocument.presentationml.tags+xml"/>
  <Override PartName="/ppt/notesSlides/notesSlide5.xml" ContentType="application/vnd.openxmlformats-officedocument.presentationml.notesSlide+xml"/>
  <Override PartName="/ppt/tags/tag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bookmarkIdSeed="2">
  <p:sldMasterIdLst>
    <p:sldMasterId id="2147483648" r:id="rId4"/>
    <p:sldMasterId id="2147483920" r:id="rId5"/>
    <p:sldMasterId id="2147483932" r:id="rId6"/>
    <p:sldMasterId id="2147483944" r:id="rId7"/>
    <p:sldMasterId id="2147483956" r:id="rId8"/>
    <p:sldMasterId id="2147483968" r:id="rId9"/>
    <p:sldMasterId id="2147483980" r:id="rId10"/>
    <p:sldMasterId id="2147484149" r:id="rId11"/>
  </p:sldMasterIdLst>
  <p:notesMasterIdLst>
    <p:notesMasterId r:id="rId21"/>
  </p:notesMasterIdLst>
  <p:handoutMasterIdLst>
    <p:handoutMasterId r:id="rId22"/>
  </p:handoutMasterIdLst>
  <p:sldIdLst>
    <p:sldId id="528" r:id="rId12"/>
    <p:sldId id="558" r:id="rId13"/>
    <p:sldId id="562" r:id="rId14"/>
    <p:sldId id="561" r:id="rId15"/>
    <p:sldId id="560" r:id="rId16"/>
    <p:sldId id="556" r:id="rId17"/>
    <p:sldId id="564" r:id="rId18"/>
    <p:sldId id="563" r:id="rId19"/>
    <p:sldId id="557" r:id="rId20"/>
  </p:sldIdLst>
  <p:sldSz cx="9144000" cy="5143500" type="screen16x9"/>
  <p:notesSz cx="6735763" cy="9866313"/>
  <p:custDataLst>
    <p:tags r:id="rId23"/>
  </p:custDataLst>
  <p:defaultTextStyle>
    <a:defPPr>
      <a:defRPr lang="nb-NO"/>
    </a:defPPr>
    <a:lvl1pPr marL="0" algn="l" defTabSz="914296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148" algn="l" defTabSz="914296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296" algn="l" defTabSz="914296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444" algn="l" defTabSz="914296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592" algn="l" defTabSz="914296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5740" algn="l" defTabSz="914296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2888" algn="l" defTabSz="914296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036" algn="l" defTabSz="914296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184" algn="l" defTabSz="914296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62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  <p15:guide id="3" orient="horz" pos="3108">
          <p15:clr>
            <a:srgbClr val="A4A3A4"/>
          </p15:clr>
        </p15:guide>
        <p15:guide id="4" pos="2122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Nils Gullhaug" initials="NG" lastIdx="41" clrIdx="0"/>
  <p:cmAuthor id="1" name="Bjarte Aksnes" initials="BA" lastIdx="5" clrIdx="1"/>
  <p:cmAuthor id="2" name="Roar Olsen" initials="rools" lastIdx="13" clrIdx="2"/>
  <p:cmAuthor id="3" name="Marit Kristin Larsen Haarr" initials="MKLH" lastIdx="10" clrIdx="3"/>
  <p:cmAuthor id="4" name="Gunnar Henry Bakkeland" initials="GHB" lastIdx="10" clrIdx="4"/>
  <p:cmAuthor id="5" name="Inga Nordberg" initials="IN" lastIdx="27" clrIdx="5"/>
  <p:cmAuthor id="6" name="Norunn Elin Saure" initials="NES" lastIdx="15" clrIdx="6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8ED7D6"/>
    <a:srgbClr val="0093A7"/>
    <a:srgbClr val="003244"/>
    <a:srgbClr val="DDD9C3"/>
    <a:srgbClr val="76428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3B4B98B0-60AC-42C2-AFA5-B58CD77FA1E5}" styleName="Lys stil 1 - aks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5C22544A-7EE6-4342-B048-85BDC9FD1C3A}" styleName="Middels stil 2 - aks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Ingen stil, ingen rutenett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9D7B26C5-4107-4FEC-AEDC-1716B250A1EF}" styleName="Lys stil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B301B821-A1FF-4177-AEE7-76D212191A09}" styleName="Middels stil 1 - aks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BC89EF96-8CEA-46FF-86C4-4CE0E7609802}" styleName="Lys stil 3 - aks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D7AC3CCA-C797-4891-BE02-D94E43425B78}" styleName="Middels stil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 w="12700" cmpd="sng">
              <a:solidFill>
                <a:schemeClr val="dk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dk1">
              <a:tint val="20000"/>
            </a:scheme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vertBarState="maximized" horzBarState="maximized">
    <p:restoredLeft sz="10502" autoAdjust="0"/>
    <p:restoredTop sz="92864" autoAdjust="0"/>
  </p:normalViewPr>
  <p:slideViewPr>
    <p:cSldViewPr snapToObjects="1">
      <p:cViewPr varScale="1">
        <p:scale>
          <a:sx n="53" d="100"/>
          <a:sy n="53" d="100"/>
        </p:scale>
        <p:origin x="66" y="468"/>
      </p:cViewPr>
      <p:guideLst>
        <p:guide orient="horz" pos="162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Objects="1">
      <p:cViewPr varScale="1">
        <p:scale>
          <a:sx n="98" d="100"/>
          <a:sy n="98" d="100"/>
        </p:scale>
        <p:origin x="-3552" y="-96"/>
      </p:cViewPr>
      <p:guideLst>
        <p:guide orient="horz" pos="2880"/>
        <p:guide pos="2160"/>
        <p:guide orient="horz" pos="3108"/>
        <p:guide pos="2122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slide" Target="slides/slide2.xml"/><Relationship Id="rId18" Type="http://schemas.openxmlformats.org/officeDocument/2006/relationships/slide" Target="slides/slide7.xml"/><Relationship Id="rId26" Type="http://schemas.openxmlformats.org/officeDocument/2006/relationships/viewProps" Target="viewProps.xml"/><Relationship Id="rId3" Type="http://schemas.openxmlformats.org/officeDocument/2006/relationships/customXml" Target="../customXml/item3.xml"/><Relationship Id="rId21" Type="http://schemas.openxmlformats.org/officeDocument/2006/relationships/notesMaster" Target="notesMasters/notesMaster1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1.xml"/><Relationship Id="rId17" Type="http://schemas.openxmlformats.org/officeDocument/2006/relationships/slide" Target="slides/slide6.xml"/><Relationship Id="rId25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5.xml"/><Relationship Id="rId20" Type="http://schemas.openxmlformats.org/officeDocument/2006/relationships/slide" Target="slides/slide9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Master" Target="slideMasters/slideMaster8.xml"/><Relationship Id="rId24" Type="http://schemas.openxmlformats.org/officeDocument/2006/relationships/commentAuthors" Target="commentAuthor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4.xml"/><Relationship Id="rId23" Type="http://schemas.openxmlformats.org/officeDocument/2006/relationships/tags" Target="tags/tag1.xml"/><Relationship Id="rId28" Type="http://schemas.openxmlformats.org/officeDocument/2006/relationships/tableStyles" Target="tableStyles.xml"/><Relationship Id="rId10" Type="http://schemas.openxmlformats.org/officeDocument/2006/relationships/slideMaster" Target="slideMasters/slideMaster7.xml"/><Relationship Id="rId19" Type="http://schemas.openxmlformats.org/officeDocument/2006/relationships/slide" Target="slides/slide8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" Target="slides/slide3.xml"/><Relationship Id="rId22" Type="http://schemas.openxmlformats.org/officeDocument/2006/relationships/handoutMaster" Target="handoutMasters/handoutMaster1.xml"/><Relationship Id="rId27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0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topptekst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18831" cy="49331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3" name="Plassholder for dato 2"/>
          <p:cNvSpPr>
            <a:spLocks noGrp="1"/>
          </p:cNvSpPr>
          <p:nvPr>
            <p:ph type="dt" sz="quarter" idx="1"/>
          </p:nvPr>
        </p:nvSpPr>
        <p:spPr>
          <a:xfrm>
            <a:off x="3815373" y="0"/>
            <a:ext cx="2918831" cy="49331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99CF360-88E7-4060-A876-A14F1B3C9B06}" type="datetimeFigureOut">
              <a:rPr lang="nb-NO" smtClean="0"/>
              <a:t>13.09.2015</a:t>
            </a:fld>
            <a:endParaRPr lang="nb-NO"/>
          </a:p>
        </p:txBody>
      </p:sp>
      <p:sp>
        <p:nvSpPr>
          <p:cNvPr id="4" name="Plassholder for bunntekst 3"/>
          <p:cNvSpPr>
            <a:spLocks noGrp="1"/>
          </p:cNvSpPr>
          <p:nvPr>
            <p:ph type="ftr" sz="quarter" idx="2"/>
          </p:nvPr>
        </p:nvSpPr>
        <p:spPr>
          <a:xfrm>
            <a:off x="0" y="9371285"/>
            <a:ext cx="2918831" cy="49331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5" name="Plassholder for lysbildenummer 4"/>
          <p:cNvSpPr>
            <a:spLocks noGrp="1"/>
          </p:cNvSpPr>
          <p:nvPr>
            <p:ph type="sldNum" sz="quarter" idx="3"/>
          </p:nvPr>
        </p:nvSpPr>
        <p:spPr>
          <a:xfrm>
            <a:off x="3815373" y="9371285"/>
            <a:ext cx="2918831" cy="49331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5759F0C-9B4B-4E81-AC16-BAF8000A2E1C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26011458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9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topptekst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18831" cy="49331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Plassholder for dato 2"/>
          <p:cNvSpPr>
            <a:spLocks noGrp="1"/>
          </p:cNvSpPr>
          <p:nvPr>
            <p:ph type="dt" idx="1"/>
          </p:nvPr>
        </p:nvSpPr>
        <p:spPr>
          <a:xfrm>
            <a:off x="3815373" y="0"/>
            <a:ext cx="2918831" cy="49331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BF4E9B-EC91-4D6A-95C2-760E78FEA15A}" type="datetimeFigureOut">
              <a:rPr lang="en-GB" smtClean="0"/>
              <a:t>13/09/2015</a:t>
            </a:fld>
            <a:endParaRPr lang="en-GB"/>
          </a:p>
        </p:txBody>
      </p:sp>
      <p:sp>
        <p:nvSpPr>
          <p:cNvPr id="4" name="Plassholder for lysbilde 3"/>
          <p:cNvSpPr>
            <a:spLocks noGrp="1" noRot="1" noChangeAspect="1"/>
          </p:cNvSpPr>
          <p:nvPr>
            <p:ph type="sldImg" idx="2"/>
          </p:nvPr>
        </p:nvSpPr>
        <p:spPr>
          <a:xfrm>
            <a:off x="79375" y="739775"/>
            <a:ext cx="6577013" cy="370046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Plassholder for notater 4"/>
          <p:cNvSpPr>
            <a:spLocks noGrp="1"/>
          </p:cNvSpPr>
          <p:nvPr>
            <p:ph type="body" sz="quarter" idx="3"/>
          </p:nvPr>
        </p:nvSpPr>
        <p:spPr>
          <a:xfrm>
            <a:off x="673577" y="4686499"/>
            <a:ext cx="5388610" cy="4439841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nb-NO" smtClean="0"/>
              <a:t>Klikk for å redigere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  <a:p>
            <a:pPr lvl="3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en-GB"/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4"/>
          </p:nvPr>
        </p:nvSpPr>
        <p:spPr>
          <a:xfrm>
            <a:off x="0" y="9371285"/>
            <a:ext cx="2918831" cy="49331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5"/>
          </p:nvPr>
        </p:nvSpPr>
        <p:spPr>
          <a:xfrm>
            <a:off x="3815373" y="9371285"/>
            <a:ext cx="2918831" cy="49331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F106C09-2B7A-40C7-B480-A62D5F51D17D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074067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296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148" algn="l" defTabSz="914296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296" algn="l" defTabSz="914296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444" algn="l" defTabSz="914296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592" algn="l" defTabSz="914296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5740" algn="l" defTabSz="914296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2888" algn="l" defTabSz="914296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036" algn="l" defTabSz="914296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184" algn="l" defTabSz="914296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F106C09-2B7A-40C7-B480-A62D5F51D17D}" type="slidenum">
              <a:rPr lang="en-GB" smtClean="0">
                <a:solidFill>
                  <a:prstClr val="black"/>
                </a:solidFill>
              </a:rPr>
              <a:pPr/>
              <a:t>1</a:t>
            </a:fld>
            <a:endParaRPr lang="en-GB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4353116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2" name="Plassholder for lysbilde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79375" y="739775"/>
            <a:ext cx="6577013" cy="3700463"/>
          </a:xfrm>
          <a:ln/>
        </p:spPr>
      </p:sp>
      <p:sp>
        <p:nvSpPr>
          <p:cNvPr id="15363" name="Plassholder for notater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nb-NO" altLang="nb-NO" smtClean="0"/>
          </a:p>
        </p:txBody>
      </p:sp>
      <p:sp>
        <p:nvSpPr>
          <p:cNvPr id="15364" name="Plassholder for lysbildenummer 3"/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/>
            <a:fld id="{928AB9FC-B8EF-4755-BAC7-C7A6FB664ECF}" type="slidenum">
              <a:rPr lang="nb-NO" altLang="nb-NO" smtClean="0">
                <a:solidFill>
                  <a:prstClr val="black"/>
                </a:solidFill>
                <a:latin typeface="Calibri" pitchFamily="34" charset="0"/>
              </a:rPr>
              <a:pPr eaLnBrk="1" hangingPunct="1"/>
              <a:t>4</a:t>
            </a:fld>
            <a:endParaRPr lang="nb-NO" altLang="nb-NO" smtClean="0">
              <a:solidFill>
                <a:prstClr val="black"/>
              </a:solidFill>
              <a:latin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1349973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>
          <a:xfrm>
            <a:off x="79375" y="739775"/>
            <a:ext cx="6577013" cy="3700463"/>
          </a:xfrm>
        </p:spPr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50463534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>
          <a:xfrm>
            <a:off x="79375" y="739775"/>
            <a:ext cx="6577013" cy="3700463"/>
          </a:xfrm>
        </p:spPr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84251BF-1487-49CC-B92B-04769DC8577D}" type="slidenum">
              <a:rPr lang="nb-NO" smtClean="0">
                <a:solidFill>
                  <a:prstClr val="black"/>
                </a:solidFill>
              </a:rPr>
              <a:pPr/>
              <a:t>6</a:t>
            </a:fld>
            <a:endParaRPr lang="nb-NO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0944370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F106C09-2B7A-40C7-B480-A62D5F51D17D}" type="slidenum">
              <a:rPr lang="en-GB" smtClean="0">
                <a:solidFill>
                  <a:prstClr val="black"/>
                </a:solidFill>
              </a:rPr>
              <a:pPr/>
              <a:t>7</a:t>
            </a:fld>
            <a:endParaRPr lang="en-GB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8689794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8.xml"/></Relationships>
</file>

<file path=ppt/slideLayouts/_rels/slideLayout1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8.xml"/></Relationships>
</file>

<file path=ppt/slideLayouts/_rels/slideLayout1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8.xml"/></Relationships>
</file>

<file path=ppt/slideLayouts/_rels/slideLayout1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8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10.jpg"/><Relationship Id="rId4" Type="http://schemas.openxmlformats.org/officeDocument/2006/relationships/image" Target="../media/image9.jpg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10.jpg"/><Relationship Id="rId4" Type="http://schemas.openxmlformats.org/officeDocument/2006/relationships/image" Target="../media/image9.jpg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4.xml"/><Relationship Id="rId5" Type="http://schemas.openxmlformats.org/officeDocument/2006/relationships/image" Target="../media/image10.jpg"/><Relationship Id="rId4" Type="http://schemas.openxmlformats.org/officeDocument/2006/relationships/image" Target="../media/image9.jpg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5.xml"/><Relationship Id="rId5" Type="http://schemas.openxmlformats.org/officeDocument/2006/relationships/image" Target="../media/image10.jpg"/><Relationship Id="rId4" Type="http://schemas.openxmlformats.org/officeDocument/2006/relationships/image" Target="../media/image9.jpg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6.xml"/><Relationship Id="rId5" Type="http://schemas.openxmlformats.org/officeDocument/2006/relationships/image" Target="../media/image10.jpg"/><Relationship Id="rId4" Type="http://schemas.openxmlformats.org/officeDocument/2006/relationships/image" Target="../media/image9.jpg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7.xml"/><Relationship Id="rId5" Type="http://schemas.openxmlformats.org/officeDocument/2006/relationships/image" Target="../media/image10.jpg"/><Relationship Id="rId4" Type="http://schemas.openxmlformats.org/officeDocument/2006/relationships/image" Target="../media/image9.jpg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8.xml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8.xml"/></Relationships>
</file>

<file path=ppt/slideLayouts/_rels/slideLayout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8.xml"/></Relationships>
</file>

<file path=ppt/slideLayouts/_rels/slideLayout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8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8.xml"/></Relationships>
</file>

<file path=ppt/slideLayouts/_rels/slideLayout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8.xml"/></Relationships>
</file>

<file path=ppt/slideLayouts/_rels/slideLayout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8.xml"/></Relationships>
</file>

<file path=ppt/slideLayouts/_rels/slideLayout9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8.xml"/></Relationships>
</file>

<file path=ppt/slideLayouts/_rels/slideLayout9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8.xml"/></Relationships>
</file>

<file path=ppt/slideLayouts/_rels/slideLayout9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8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tellys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Bilde 8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9054"/>
          <a:stretch/>
        </p:blipFill>
        <p:spPr>
          <a:xfrm>
            <a:off x="-4984" y="3510645"/>
            <a:ext cx="9144000" cy="1632856"/>
          </a:xfrm>
          <a:prstGeom prst="rect">
            <a:avLst/>
          </a:prstGeom>
          <a:solidFill>
            <a:schemeClr val="accent1"/>
          </a:solidFill>
        </p:spPr>
      </p:pic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685800" y="3763185"/>
            <a:ext cx="7772400" cy="402279"/>
          </a:xfrm>
        </p:spPr>
        <p:txBody>
          <a:bodyPr>
            <a:spAutoFit/>
          </a:bodyPr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nb-NO" smtClean="0"/>
              <a:t>Klikk for å redigere tittelstil</a:t>
            </a:r>
            <a:endParaRPr lang="nb-NO" dirty="0"/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685800" y="4139618"/>
            <a:ext cx="7772400" cy="279168"/>
          </a:xfrm>
        </p:spPr>
        <p:txBody>
          <a:bodyPr wrap="square">
            <a:spAutoFit/>
          </a:bodyPr>
          <a:lstStyle>
            <a:lvl1pPr marL="0" indent="0" algn="l">
              <a:buNone/>
              <a:defRPr>
                <a:solidFill>
                  <a:schemeClr val="bg1"/>
                </a:solidFill>
              </a:defRPr>
            </a:lvl1pPr>
            <a:lvl2pPr marL="4571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29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5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7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8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03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1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b-NO" smtClean="0"/>
              <a:t>Klikk for å redigere undertittelstil i malen</a:t>
            </a:r>
            <a:endParaRPr lang="nb-NO" dirty="0"/>
          </a:p>
        </p:txBody>
      </p:sp>
      <p:sp>
        <p:nvSpPr>
          <p:cNvPr id="13" name="Plassholder for bilde 2"/>
          <p:cNvSpPr>
            <a:spLocks noGrp="1"/>
          </p:cNvSpPr>
          <p:nvPr>
            <p:ph type="pic" idx="10"/>
          </p:nvPr>
        </p:nvSpPr>
        <p:spPr>
          <a:xfrm>
            <a:off x="0" y="1979"/>
            <a:ext cx="9144000" cy="3131815"/>
          </a:xfrm>
        </p:spPr>
        <p:txBody>
          <a:bodyPr/>
          <a:lstStyle>
            <a:lvl1pPr marL="0" indent="0">
              <a:buNone/>
              <a:defRPr sz="3200"/>
            </a:lvl1pPr>
            <a:lvl2pPr marL="457148" indent="0">
              <a:buNone/>
              <a:defRPr sz="2800"/>
            </a:lvl2pPr>
            <a:lvl3pPr marL="914296" indent="0">
              <a:buNone/>
              <a:defRPr sz="2400"/>
            </a:lvl3pPr>
            <a:lvl4pPr marL="1371444" indent="0">
              <a:buNone/>
              <a:defRPr sz="2000"/>
            </a:lvl4pPr>
            <a:lvl5pPr marL="1828592" indent="0">
              <a:buNone/>
              <a:defRPr sz="2000"/>
            </a:lvl5pPr>
            <a:lvl6pPr marL="2285740" indent="0">
              <a:buNone/>
              <a:defRPr sz="2000"/>
            </a:lvl6pPr>
            <a:lvl7pPr marL="2742888" indent="0">
              <a:buNone/>
              <a:defRPr sz="2000"/>
            </a:lvl7pPr>
            <a:lvl8pPr marL="3200036" indent="0">
              <a:buNone/>
              <a:defRPr sz="2000"/>
            </a:lvl8pPr>
            <a:lvl9pPr marL="3657184" indent="0">
              <a:buNone/>
              <a:defRPr sz="2000"/>
            </a:lvl9pPr>
          </a:lstStyle>
          <a:p>
            <a:r>
              <a:rPr lang="nb-NO" smtClean="0"/>
              <a:t>Klikk ikonet for å legge til et bilde</a:t>
            </a:r>
            <a:endParaRPr lang="nb-NO" dirty="0"/>
          </a:p>
        </p:txBody>
      </p:sp>
      <p:pic>
        <p:nvPicPr>
          <p:cNvPr id="7" name="Bilde 6"/>
          <p:cNvPicPr>
            <a:picLocks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7806" y="3208560"/>
            <a:ext cx="1682357" cy="228581"/>
          </a:xfrm>
          <a:prstGeom prst="rect">
            <a:avLst/>
          </a:prstGeom>
        </p:spPr>
      </p:pic>
      <p:sp>
        <p:nvSpPr>
          <p:cNvPr id="8" name="Plassholder for tekst 4"/>
          <p:cNvSpPr>
            <a:spLocks noGrp="1"/>
          </p:cNvSpPr>
          <p:nvPr>
            <p:ph type="body" sz="quarter" idx="11" hasCustomPrompt="1"/>
          </p:nvPr>
        </p:nvSpPr>
        <p:spPr>
          <a:xfrm>
            <a:off x="685721" y="4804010"/>
            <a:ext cx="7772479" cy="309946"/>
          </a:xfrm>
        </p:spPr>
        <p:txBody>
          <a:bodyPr wrap="square" anchor="b" anchorCtr="0">
            <a:sp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nb-NO" smtClean="0"/>
              <a:t>Sted, dato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63872255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elforside #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5385"/>
          <a:stretch/>
        </p:blipFill>
        <p:spPr>
          <a:xfrm>
            <a:off x="1" y="1"/>
            <a:ext cx="9143245" cy="4707326"/>
          </a:xfrm>
          <a:prstGeom prst="rect">
            <a:avLst/>
          </a:prstGeom>
        </p:spPr>
      </p:pic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685800" y="1608315"/>
            <a:ext cx="7772400" cy="402279"/>
          </a:xfrm>
        </p:spPr>
        <p:txBody>
          <a:bodyPr>
            <a:spAutoFit/>
          </a:bodyPr>
          <a:lstStyle>
            <a:lvl1pPr algn="l">
              <a:defRPr b="1">
                <a:solidFill>
                  <a:schemeClr val="bg1"/>
                </a:solidFill>
              </a:defRPr>
            </a:lvl1pPr>
          </a:lstStyle>
          <a:p>
            <a:r>
              <a:rPr lang="nb-NO" smtClean="0"/>
              <a:t>Klikk for å redigere tittelstil</a:t>
            </a:r>
            <a:endParaRPr lang="nb-NO" dirty="0"/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685800" y="1990829"/>
            <a:ext cx="7772400" cy="279168"/>
          </a:xfrm>
        </p:spPr>
        <p:txBody>
          <a:bodyPr wrap="square">
            <a:spAutoFit/>
          </a:bodyPr>
          <a:lstStyle>
            <a:lvl1pPr marL="0" indent="0" algn="l">
              <a:buNone/>
              <a:defRPr>
                <a:solidFill>
                  <a:schemeClr val="bg1"/>
                </a:solidFill>
              </a:defRPr>
            </a:lvl1pPr>
            <a:lvl2pPr marL="4571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29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5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7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8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03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1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b-NO" smtClean="0"/>
              <a:t>Klikk for å redigere undertittelstil i malen</a:t>
            </a:r>
            <a:endParaRPr lang="nb-NO" dirty="0"/>
          </a:p>
        </p:txBody>
      </p:sp>
      <p:sp>
        <p:nvSpPr>
          <p:cNvPr id="10" name="Plassholder for dato 3"/>
          <p:cNvSpPr>
            <a:spLocks noGrp="1"/>
          </p:cNvSpPr>
          <p:nvPr>
            <p:ph type="dt" sz="half" idx="10"/>
          </p:nvPr>
        </p:nvSpPr>
        <p:spPr>
          <a:xfrm>
            <a:off x="6732240" y="4993004"/>
            <a:ext cx="1080120" cy="108011"/>
          </a:xfrm>
          <a:prstGeom prst="rect">
            <a:avLst/>
          </a:prstGeom>
        </p:spPr>
        <p:txBody>
          <a:bodyPr anchor="ctr" anchorCtr="0"/>
          <a:lstStyle>
            <a:lvl1pPr>
              <a:defRPr sz="800">
                <a:solidFill>
                  <a:srgbClr val="003244"/>
                </a:solidFill>
              </a:defRPr>
            </a:lvl1pPr>
          </a:lstStyle>
          <a:p>
            <a:fld id="{1F06E3D6-3113-4052-8761-9227CB5263CE}" type="datetime1">
              <a:rPr lang="nb-NO" smtClean="0"/>
              <a:t>13.09.2015</a:t>
            </a:fld>
            <a:endParaRPr lang="nb-NO" dirty="0"/>
          </a:p>
        </p:txBody>
      </p:sp>
      <p:sp>
        <p:nvSpPr>
          <p:cNvPr id="11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6732240" y="4776980"/>
            <a:ext cx="2160240" cy="162017"/>
          </a:xfrm>
          <a:prstGeom prst="rect">
            <a:avLst/>
          </a:prstGeom>
        </p:spPr>
        <p:txBody>
          <a:bodyPr anchor="ctr" anchorCtr="0"/>
          <a:lstStyle>
            <a:lvl1pPr algn="l">
              <a:defRPr sz="1000" b="1">
                <a:solidFill>
                  <a:srgbClr val="039BAF"/>
                </a:solidFill>
              </a:defRPr>
            </a:lvl1pPr>
          </a:lstStyle>
          <a:p>
            <a:r>
              <a:rPr lang="nb-NO" smtClean="0"/>
              <a:t>IKT utfordringsbilde</a:t>
            </a:r>
            <a:endParaRPr lang="nb-NO" dirty="0"/>
          </a:p>
        </p:txBody>
      </p:sp>
      <p:sp>
        <p:nvSpPr>
          <p:cNvPr id="12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7884368" y="4993004"/>
            <a:ext cx="648072" cy="108011"/>
          </a:xfrm>
          <a:prstGeom prst="rect">
            <a:avLst/>
          </a:prstGeom>
        </p:spPr>
        <p:txBody>
          <a:bodyPr anchor="ctr" anchorCtr="0"/>
          <a:lstStyle>
            <a:lvl1pPr>
              <a:defRPr sz="800">
                <a:solidFill>
                  <a:srgbClr val="003244"/>
                </a:solidFill>
              </a:defRPr>
            </a:lvl1pPr>
          </a:lstStyle>
          <a:p>
            <a:fld id="{CDA22134-EA94-4B2E-9154-EB8F13265450}" type="slidenum">
              <a:rPr lang="nb-NO" smtClean="0"/>
              <a:pPr/>
              <a:t>‹#›</a:t>
            </a:fld>
            <a:endParaRPr lang="nb-NO" dirty="0"/>
          </a:p>
        </p:txBody>
      </p:sp>
      <p:pic>
        <p:nvPicPr>
          <p:cNvPr id="9" name="Bilde 8"/>
          <p:cNvPicPr>
            <a:picLocks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6239" y="4894009"/>
            <a:ext cx="1076709" cy="1467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4401459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468000" y="716424"/>
            <a:ext cx="8208000" cy="402291"/>
          </a:xfrm>
        </p:spPr>
        <p:txBody>
          <a:bodyPr/>
          <a:lstStyle>
            <a:lvl1pPr>
              <a:defRPr sz="2000"/>
            </a:lvl1pPr>
          </a:lstStyle>
          <a:p>
            <a:r>
              <a:rPr lang="nb-NO" smtClean="0"/>
              <a:t>Klikk for å redigere tittelstil</a:t>
            </a:r>
            <a:endParaRPr lang="nb-NO"/>
          </a:p>
        </p:txBody>
      </p:sp>
      <p:sp>
        <p:nvSpPr>
          <p:cNvPr id="11" name="Plassholder for dato 3"/>
          <p:cNvSpPr>
            <a:spLocks noGrp="1"/>
          </p:cNvSpPr>
          <p:nvPr>
            <p:ph type="dt" sz="half" idx="10"/>
          </p:nvPr>
        </p:nvSpPr>
        <p:spPr>
          <a:xfrm>
            <a:off x="6732240" y="4993003"/>
            <a:ext cx="1080120" cy="108011"/>
          </a:xfrm>
          <a:prstGeom prst="rect">
            <a:avLst/>
          </a:prstGeom>
        </p:spPr>
        <p:txBody>
          <a:bodyPr anchor="ctr" anchorCtr="0"/>
          <a:lstStyle>
            <a:lvl1pPr>
              <a:defRPr sz="800">
                <a:solidFill>
                  <a:srgbClr val="003244"/>
                </a:solidFill>
              </a:defRPr>
            </a:lvl1pPr>
          </a:lstStyle>
          <a:p>
            <a:r>
              <a:rPr lang="nb-NO" smtClean="0"/>
              <a:t>08.06.2015</a:t>
            </a:r>
            <a:endParaRPr lang="nb-NO" dirty="0"/>
          </a:p>
        </p:txBody>
      </p:sp>
      <p:sp>
        <p:nvSpPr>
          <p:cNvPr id="12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6732240" y="4776979"/>
            <a:ext cx="2160240" cy="162017"/>
          </a:xfrm>
          <a:prstGeom prst="rect">
            <a:avLst/>
          </a:prstGeom>
        </p:spPr>
        <p:txBody>
          <a:bodyPr anchor="ctr" anchorCtr="0"/>
          <a:lstStyle>
            <a:lvl1pPr algn="l">
              <a:defRPr sz="1000" b="1">
                <a:solidFill>
                  <a:srgbClr val="039BAF"/>
                </a:solidFill>
              </a:defRPr>
            </a:lvl1pPr>
          </a:lstStyle>
          <a:p>
            <a:r>
              <a:rPr lang="nb-NO" smtClean="0"/>
              <a:t>KMD</a:t>
            </a:r>
            <a:endParaRPr lang="nb-NO" dirty="0"/>
          </a:p>
        </p:txBody>
      </p:sp>
      <p:sp>
        <p:nvSpPr>
          <p:cNvPr id="13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7884368" y="4993003"/>
            <a:ext cx="648072" cy="108011"/>
          </a:xfrm>
          <a:prstGeom prst="rect">
            <a:avLst/>
          </a:prstGeom>
        </p:spPr>
        <p:txBody>
          <a:bodyPr anchor="ctr" anchorCtr="0"/>
          <a:lstStyle>
            <a:lvl1pPr>
              <a:defRPr sz="800">
                <a:solidFill>
                  <a:srgbClr val="003244"/>
                </a:solidFill>
              </a:defRPr>
            </a:lvl1pPr>
          </a:lstStyle>
          <a:p>
            <a:fld id="{CDA22134-EA94-4B2E-9154-EB8F13265450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14" name="Plassholder for innhold 2"/>
          <p:cNvSpPr>
            <a:spLocks noGrp="1"/>
          </p:cNvSpPr>
          <p:nvPr>
            <p:ph idx="1"/>
          </p:nvPr>
        </p:nvSpPr>
        <p:spPr>
          <a:xfrm>
            <a:off x="468000" y="1274400"/>
            <a:ext cx="2663840" cy="3394472"/>
          </a:xfrm>
        </p:spPr>
        <p:txBody>
          <a:bodyPr vert="horz" lIns="90000" tIns="46800" rIns="90000" bIns="46800" rtlCol="0">
            <a:normAutofit/>
          </a:bodyPr>
          <a:lstStyle>
            <a:lvl1pPr marL="0" indent="0">
              <a:buNone/>
              <a:defRPr lang="nb-NO" sz="1100" b="1" dirty="0" smtClean="0"/>
            </a:lvl1pPr>
            <a:lvl2pPr marL="358775" indent="-358775">
              <a:buFont typeface="Arial" panose="020B0604020202020204" pitchFamily="34" charset="0"/>
              <a:buChar char="•"/>
              <a:defRPr lang="nb-NO" sz="1050" dirty="0" smtClean="0"/>
            </a:lvl2pPr>
            <a:lvl3pPr>
              <a:defRPr lang="nb-NO" sz="1000" dirty="0" smtClean="0"/>
            </a:lvl3pPr>
            <a:lvl4pPr>
              <a:defRPr lang="nb-NO" sz="1050" dirty="0" smtClean="0"/>
            </a:lvl4pPr>
            <a:lvl5pPr>
              <a:defRPr lang="nb-NO" sz="1100" dirty="0"/>
            </a:lvl5pPr>
          </a:lstStyle>
          <a:p>
            <a:pPr marL="182563" lvl="0" indent="-182563"/>
            <a:r>
              <a:rPr lang="nb-NO" dirty="0" smtClean="0"/>
              <a:t>Klikk for å redigere tekststiler i malen</a:t>
            </a:r>
          </a:p>
          <a:p>
            <a:pPr marL="358775" lvl="1" indent="-176213"/>
            <a:r>
              <a:rPr lang="nb-NO" dirty="0" smtClean="0"/>
              <a:t>Andre nivå</a:t>
            </a:r>
          </a:p>
          <a:p>
            <a:pPr marL="541338" lvl="2" indent="-182563"/>
            <a:r>
              <a:rPr lang="nb-NO" dirty="0" smtClean="0"/>
              <a:t>Tredje nivå</a:t>
            </a:r>
          </a:p>
          <a:p>
            <a:pPr marL="715963" lvl="3" indent="-174625"/>
            <a:r>
              <a:rPr lang="nb-NO" dirty="0" smtClean="0"/>
              <a:t>Fjerde nivå</a:t>
            </a:r>
          </a:p>
          <a:p>
            <a:pPr lvl="2"/>
            <a:r>
              <a:rPr lang="nb-NO" dirty="0" smtClean="0"/>
              <a:t>Femte nivå</a:t>
            </a:r>
            <a:endParaRPr lang="nb-NO" dirty="0"/>
          </a:p>
        </p:txBody>
      </p:sp>
      <p:sp>
        <p:nvSpPr>
          <p:cNvPr id="8" name="Plassholder for innhold 2"/>
          <p:cNvSpPr>
            <a:spLocks noGrp="1"/>
          </p:cNvSpPr>
          <p:nvPr>
            <p:ph idx="11"/>
          </p:nvPr>
        </p:nvSpPr>
        <p:spPr>
          <a:xfrm>
            <a:off x="3229275" y="1274400"/>
            <a:ext cx="2663840" cy="3394472"/>
          </a:xfrm>
        </p:spPr>
        <p:txBody>
          <a:bodyPr vert="horz" lIns="90000" tIns="46800" rIns="90000" bIns="46800" rtlCol="0">
            <a:normAutofit/>
          </a:bodyPr>
          <a:lstStyle>
            <a:lvl1pPr marL="0" indent="0">
              <a:buNone/>
              <a:defRPr lang="nb-NO" sz="1100" b="1" dirty="0" smtClean="0"/>
            </a:lvl1pPr>
            <a:lvl2pPr>
              <a:defRPr lang="nb-NO" sz="1050" dirty="0" smtClean="0"/>
            </a:lvl2pPr>
            <a:lvl3pPr>
              <a:defRPr lang="nb-NO" sz="1000" dirty="0" smtClean="0"/>
            </a:lvl3pPr>
            <a:lvl4pPr>
              <a:defRPr lang="nb-NO" sz="1050" dirty="0" smtClean="0"/>
            </a:lvl4pPr>
            <a:lvl5pPr>
              <a:defRPr lang="nb-NO" sz="1100" dirty="0"/>
            </a:lvl5pPr>
          </a:lstStyle>
          <a:p>
            <a:pPr marL="182563" lvl="0" indent="-182563"/>
            <a:r>
              <a:rPr lang="nb-NO" dirty="0" smtClean="0"/>
              <a:t>Klikk for å redigere tekststiler i malen</a:t>
            </a:r>
          </a:p>
          <a:p>
            <a:pPr marL="358775" lvl="1" indent="-176213"/>
            <a:r>
              <a:rPr lang="nb-NO" dirty="0" smtClean="0"/>
              <a:t>Andre nivå</a:t>
            </a:r>
          </a:p>
          <a:p>
            <a:pPr marL="541338" lvl="2" indent="-182563"/>
            <a:r>
              <a:rPr lang="nb-NO" dirty="0" smtClean="0"/>
              <a:t>Tredje nivå</a:t>
            </a:r>
          </a:p>
          <a:p>
            <a:pPr marL="715963" lvl="3" indent="-174625"/>
            <a:r>
              <a:rPr lang="nb-NO" dirty="0" smtClean="0"/>
              <a:t>Fjerde nivå</a:t>
            </a:r>
          </a:p>
          <a:p>
            <a:pPr lvl="2"/>
            <a:r>
              <a:rPr lang="nb-NO" dirty="0" smtClean="0"/>
              <a:t>Femte nivå</a:t>
            </a:r>
            <a:endParaRPr lang="nb-NO" dirty="0"/>
          </a:p>
        </p:txBody>
      </p:sp>
      <p:sp>
        <p:nvSpPr>
          <p:cNvPr id="9" name="Plassholder for innhold 2"/>
          <p:cNvSpPr>
            <a:spLocks noGrp="1"/>
          </p:cNvSpPr>
          <p:nvPr>
            <p:ph idx="12"/>
          </p:nvPr>
        </p:nvSpPr>
        <p:spPr>
          <a:xfrm>
            <a:off x="5990550" y="1274400"/>
            <a:ext cx="2663840" cy="3394472"/>
          </a:xfrm>
        </p:spPr>
        <p:txBody>
          <a:bodyPr vert="horz" lIns="90000" tIns="46800" rIns="90000" bIns="46800" rtlCol="0">
            <a:normAutofit/>
          </a:bodyPr>
          <a:lstStyle>
            <a:lvl1pPr marL="0" indent="0">
              <a:buNone/>
              <a:defRPr lang="nb-NO" sz="1100" b="1" dirty="0" smtClean="0"/>
            </a:lvl1pPr>
            <a:lvl2pPr>
              <a:defRPr lang="nb-NO" sz="1050" dirty="0" smtClean="0"/>
            </a:lvl2pPr>
            <a:lvl3pPr>
              <a:defRPr lang="nb-NO" sz="1000" dirty="0" smtClean="0"/>
            </a:lvl3pPr>
            <a:lvl4pPr>
              <a:defRPr lang="nb-NO" sz="1050" dirty="0" smtClean="0"/>
            </a:lvl4pPr>
            <a:lvl5pPr>
              <a:defRPr lang="nb-NO" sz="1100" dirty="0"/>
            </a:lvl5pPr>
          </a:lstStyle>
          <a:p>
            <a:pPr marL="182563" lvl="0" indent="-182563"/>
            <a:r>
              <a:rPr lang="nb-NO" dirty="0" smtClean="0"/>
              <a:t>Klikk for å redigere tekststiler i malen</a:t>
            </a:r>
          </a:p>
          <a:p>
            <a:pPr marL="358775" lvl="1" indent="-176213"/>
            <a:r>
              <a:rPr lang="nb-NO" dirty="0" smtClean="0"/>
              <a:t>Andre nivå</a:t>
            </a:r>
          </a:p>
          <a:p>
            <a:pPr marL="541338" lvl="2" indent="-182563"/>
            <a:r>
              <a:rPr lang="nb-NO" dirty="0" smtClean="0"/>
              <a:t>Tredje nivå</a:t>
            </a:r>
          </a:p>
          <a:p>
            <a:pPr marL="715963" lvl="3" indent="-174625"/>
            <a:r>
              <a:rPr lang="nb-NO" dirty="0" smtClean="0"/>
              <a:t>Fjerde nivå</a:t>
            </a:r>
          </a:p>
          <a:p>
            <a:pPr lvl="2"/>
            <a:r>
              <a:rPr lang="nb-NO" dirty="0" smtClean="0"/>
              <a:t>Femte nivå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79695499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ire innholdsde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468000" y="654869"/>
            <a:ext cx="8208000" cy="463846"/>
          </a:xfrm>
        </p:spPr>
        <p:txBody>
          <a:bodyPr vert="horz" lIns="90000" tIns="46800" rIns="90000" bIns="46800" rtlCol="0" anchor="b" anchorCtr="0">
            <a:spAutoFit/>
          </a:bodyPr>
          <a:lstStyle>
            <a:lvl1pPr>
              <a:defRPr lang="nb-NO" sz="2400"/>
            </a:lvl1pPr>
          </a:lstStyle>
          <a:p>
            <a:pPr lvl="0"/>
            <a:r>
              <a:rPr lang="nb-NO" smtClean="0"/>
              <a:t>Klikk for å redigere tittelstil</a:t>
            </a:r>
            <a:endParaRPr lang="nb-NO"/>
          </a:p>
        </p:txBody>
      </p:sp>
      <p:sp>
        <p:nvSpPr>
          <p:cNvPr id="14" name="Plassholder for innhold 2"/>
          <p:cNvSpPr>
            <a:spLocks noGrp="1"/>
          </p:cNvSpPr>
          <p:nvPr>
            <p:ph idx="1"/>
          </p:nvPr>
        </p:nvSpPr>
        <p:spPr>
          <a:xfrm>
            <a:off x="468000" y="1274400"/>
            <a:ext cx="3960000" cy="1620000"/>
          </a:xfrm>
        </p:spPr>
        <p:txBody>
          <a:bodyPr vert="horz" lIns="90000" tIns="46800" rIns="90000" bIns="46800" rtlCol="0">
            <a:normAutofit/>
          </a:bodyPr>
          <a:lstStyle>
            <a:lvl1pPr>
              <a:defRPr lang="nb-NO" dirty="0" smtClean="0"/>
            </a:lvl1pPr>
            <a:lvl2pPr>
              <a:defRPr lang="nb-NO" sz="1100" dirty="0" smtClean="0"/>
            </a:lvl2pPr>
            <a:lvl3pPr>
              <a:defRPr lang="nb-NO" sz="1100" dirty="0" smtClean="0"/>
            </a:lvl3pPr>
            <a:lvl4pPr>
              <a:defRPr lang="nb-NO" sz="1100" dirty="0" smtClean="0"/>
            </a:lvl4pPr>
            <a:lvl5pPr>
              <a:defRPr lang="nb-NO" sz="1100" dirty="0"/>
            </a:lvl5pPr>
          </a:lstStyle>
          <a:p>
            <a:pPr marL="182563" lvl="0" indent="-182563"/>
            <a:r>
              <a:rPr lang="nb-NO" dirty="0" smtClean="0"/>
              <a:t>Klikk for å redigere tekststiler i malen</a:t>
            </a:r>
          </a:p>
          <a:p>
            <a:pPr marL="358775" lvl="1" indent="-176213"/>
            <a:r>
              <a:rPr lang="nb-NO" dirty="0" smtClean="0"/>
              <a:t>Andre nivå</a:t>
            </a:r>
          </a:p>
          <a:p>
            <a:pPr marL="541338" lvl="2" indent="-182563"/>
            <a:r>
              <a:rPr lang="nb-NO" dirty="0" smtClean="0"/>
              <a:t>Tredje nivå</a:t>
            </a:r>
          </a:p>
          <a:p>
            <a:pPr marL="715963" lvl="3" indent="-174625"/>
            <a:r>
              <a:rPr lang="nb-NO" dirty="0" smtClean="0"/>
              <a:t>Fjerde nivå</a:t>
            </a:r>
          </a:p>
          <a:p>
            <a:pPr lvl="4"/>
            <a:r>
              <a:rPr lang="nb-NO" dirty="0" smtClean="0"/>
              <a:t>Femte nivå</a:t>
            </a:r>
            <a:endParaRPr lang="nb-NO" dirty="0"/>
          </a:p>
        </p:txBody>
      </p:sp>
      <p:sp>
        <p:nvSpPr>
          <p:cNvPr id="15" name="Plassholder for innhold 2"/>
          <p:cNvSpPr>
            <a:spLocks noGrp="1"/>
          </p:cNvSpPr>
          <p:nvPr>
            <p:ph idx="11"/>
          </p:nvPr>
        </p:nvSpPr>
        <p:spPr>
          <a:xfrm>
            <a:off x="4724400" y="1274400"/>
            <a:ext cx="3960000" cy="1620000"/>
          </a:xfrm>
        </p:spPr>
        <p:txBody>
          <a:bodyPr vert="horz" lIns="90000" tIns="46800" rIns="90000" bIns="46800" rtlCol="0">
            <a:normAutofit/>
          </a:bodyPr>
          <a:lstStyle>
            <a:lvl1pPr>
              <a:defRPr lang="nb-NO" smtClean="0"/>
            </a:lvl1pPr>
            <a:lvl2pPr>
              <a:defRPr lang="nb-NO" sz="1100" smtClean="0"/>
            </a:lvl2pPr>
            <a:lvl3pPr>
              <a:defRPr lang="nb-NO" sz="1100" smtClean="0"/>
            </a:lvl3pPr>
            <a:lvl4pPr>
              <a:defRPr lang="nb-NO" sz="1100" smtClean="0"/>
            </a:lvl4pPr>
            <a:lvl5pPr>
              <a:defRPr lang="nb-NO" sz="1100"/>
            </a:lvl5pPr>
          </a:lstStyle>
          <a:p>
            <a:pPr marL="182563" lvl="0" indent="-182563"/>
            <a:r>
              <a:rPr lang="nb-NO" smtClean="0"/>
              <a:t>Klikk for å redigere tekststiler i malen</a:t>
            </a:r>
          </a:p>
          <a:p>
            <a:pPr marL="358775" lvl="1" indent="-176213"/>
            <a:r>
              <a:rPr lang="nb-NO" smtClean="0"/>
              <a:t>Andre nivå</a:t>
            </a:r>
          </a:p>
          <a:p>
            <a:pPr marL="541338" lvl="2" indent="-182563"/>
            <a:r>
              <a:rPr lang="nb-NO" smtClean="0"/>
              <a:t>Tredje nivå</a:t>
            </a:r>
          </a:p>
          <a:p>
            <a:pPr marL="715963" lvl="3" indent="-174625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nb-NO"/>
          </a:p>
        </p:txBody>
      </p:sp>
      <p:sp>
        <p:nvSpPr>
          <p:cNvPr id="12" name="Plassholder for innhold 2"/>
          <p:cNvSpPr>
            <a:spLocks noGrp="1"/>
          </p:cNvSpPr>
          <p:nvPr>
            <p:ph idx="12"/>
          </p:nvPr>
        </p:nvSpPr>
        <p:spPr>
          <a:xfrm>
            <a:off x="468000" y="3047231"/>
            <a:ext cx="3960000" cy="1620000"/>
          </a:xfrm>
        </p:spPr>
        <p:txBody>
          <a:bodyPr vert="horz" lIns="90000" tIns="46800" rIns="90000" bIns="46800" rtlCol="0">
            <a:normAutofit/>
          </a:bodyPr>
          <a:lstStyle>
            <a:lvl1pPr>
              <a:defRPr lang="nb-NO" smtClean="0"/>
            </a:lvl1pPr>
            <a:lvl2pPr>
              <a:defRPr lang="nb-NO" sz="1100" smtClean="0"/>
            </a:lvl2pPr>
            <a:lvl3pPr>
              <a:defRPr lang="nb-NO" sz="1100" smtClean="0"/>
            </a:lvl3pPr>
            <a:lvl4pPr>
              <a:defRPr lang="nb-NO" sz="1100" smtClean="0"/>
            </a:lvl4pPr>
            <a:lvl5pPr>
              <a:defRPr lang="nb-NO" sz="1100" dirty="0"/>
            </a:lvl5pPr>
          </a:lstStyle>
          <a:p>
            <a:pPr marL="182563" lvl="0" indent="-182563"/>
            <a:r>
              <a:rPr lang="nb-NO" smtClean="0"/>
              <a:t>Klikk for å redigere tekststiler i malen</a:t>
            </a:r>
          </a:p>
          <a:p>
            <a:pPr marL="358775" lvl="1" indent="-176213"/>
            <a:r>
              <a:rPr lang="nb-NO" smtClean="0"/>
              <a:t>Andre nivå</a:t>
            </a:r>
          </a:p>
          <a:p>
            <a:pPr marL="541338" lvl="2" indent="-182563"/>
            <a:r>
              <a:rPr lang="nb-NO" smtClean="0"/>
              <a:t>Tredje nivå</a:t>
            </a:r>
          </a:p>
          <a:p>
            <a:pPr marL="715963" lvl="3" indent="-174625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nb-NO" dirty="0"/>
          </a:p>
        </p:txBody>
      </p:sp>
      <p:sp>
        <p:nvSpPr>
          <p:cNvPr id="13" name="Plassholder for innhold 2"/>
          <p:cNvSpPr>
            <a:spLocks noGrp="1"/>
          </p:cNvSpPr>
          <p:nvPr>
            <p:ph idx="13"/>
          </p:nvPr>
        </p:nvSpPr>
        <p:spPr>
          <a:xfrm>
            <a:off x="4724400" y="3047231"/>
            <a:ext cx="3960000" cy="1620000"/>
          </a:xfrm>
        </p:spPr>
        <p:txBody>
          <a:bodyPr vert="horz" lIns="90000" tIns="46800" rIns="90000" bIns="46800" rtlCol="0">
            <a:normAutofit/>
          </a:bodyPr>
          <a:lstStyle>
            <a:lvl1pPr>
              <a:defRPr lang="nb-NO" smtClean="0"/>
            </a:lvl1pPr>
            <a:lvl2pPr>
              <a:defRPr lang="nb-NO" sz="1100" smtClean="0"/>
            </a:lvl2pPr>
            <a:lvl3pPr>
              <a:defRPr lang="nb-NO" sz="1100" smtClean="0"/>
            </a:lvl3pPr>
            <a:lvl4pPr>
              <a:defRPr lang="nb-NO" sz="1100" smtClean="0"/>
            </a:lvl4pPr>
            <a:lvl5pPr>
              <a:defRPr lang="nb-NO" sz="1100"/>
            </a:lvl5pPr>
          </a:lstStyle>
          <a:p>
            <a:pPr marL="182563" lvl="0" indent="-182563"/>
            <a:r>
              <a:rPr lang="nb-NO" smtClean="0"/>
              <a:t>Klikk for å redigere tekststiler i malen</a:t>
            </a:r>
          </a:p>
          <a:p>
            <a:pPr marL="358775" lvl="1" indent="-176213"/>
            <a:r>
              <a:rPr lang="nb-NO" smtClean="0"/>
              <a:t>Andre nivå</a:t>
            </a:r>
          </a:p>
          <a:p>
            <a:pPr marL="541338" lvl="2" indent="-182563"/>
            <a:r>
              <a:rPr lang="nb-NO" smtClean="0"/>
              <a:t>Tredje nivå</a:t>
            </a:r>
          </a:p>
          <a:p>
            <a:pPr marL="715963" lvl="3" indent="-174625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nb-NO"/>
          </a:p>
        </p:txBody>
      </p:sp>
      <p:sp>
        <p:nvSpPr>
          <p:cNvPr id="11" name="Plassholder for dato 3"/>
          <p:cNvSpPr>
            <a:spLocks noGrp="1"/>
          </p:cNvSpPr>
          <p:nvPr>
            <p:ph type="dt" sz="half" idx="2"/>
          </p:nvPr>
        </p:nvSpPr>
        <p:spPr>
          <a:xfrm>
            <a:off x="6732240" y="4993003"/>
            <a:ext cx="1080120" cy="108011"/>
          </a:xfrm>
          <a:prstGeom prst="rect">
            <a:avLst/>
          </a:prstGeom>
        </p:spPr>
        <p:txBody>
          <a:bodyPr anchor="ctr" anchorCtr="0"/>
          <a:lstStyle>
            <a:lvl1pPr>
              <a:defRPr sz="800">
                <a:solidFill>
                  <a:srgbClr val="003244"/>
                </a:solidFill>
              </a:defRPr>
            </a:lvl1pPr>
          </a:lstStyle>
          <a:p>
            <a:r>
              <a:rPr lang="nb-NO" smtClean="0"/>
              <a:t>08.06.2015</a:t>
            </a:r>
            <a:endParaRPr lang="nb-NO" dirty="0"/>
          </a:p>
        </p:txBody>
      </p:sp>
      <p:sp>
        <p:nvSpPr>
          <p:cNvPr id="17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6732240" y="4776979"/>
            <a:ext cx="2160240" cy="162017"/>
          </a:xfrm>
          <a:prstGeom prst="rect">
            <a:avLst/>
          </a:prstGeom>
        </p:spPr>
        <p:txBody>
          <a:bodyPr anchor="ctr" anchorCtr="0"/>
          <a:lstStyle>
            <a:lvl1pPr algn="l">
              <a:defRPr sz="1000" b="1">
                <a:solidFill>
                  <a:srgbClr val="039BAF"/>
                </a:solidFill>
              </a:defRPr>
            </a:lvl1pPr>
          </a:lstStyle>
          <a:p>
            <a:r>
              <a:rPr lang="nb-NO" smtClean="0"/>
              <a:t>KMD</a:t>
            </a:r>
            <a:endParaRPr lang="nb-NO" dirty="0"/>
          </a:p>
        </p:txBody>
      </p:sp>
      <p:sp>
        <p:nvSpPr>
          <p:cNvPr id="18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7884368" y="4993003"/>
            <a:ext cx="648072" cy="108011"/>
          </a:xfrm>
          <a:prstGeom prst="rect">
            <a:avLst/>
          </a:prstGeom>
        </p:spPr>
        <p:txBody>
          <a:bodyPr anchor="ctr" anchorCtr="0"/>
          <a:lstStyle>
            <a:lvl1pPr>
              <a:defRPr sz="800">
                <a:solidFill>
                  <a:srgbClr val="003244"/>
                </a:solidFill>
              </a:defRPr>
            </a:lvl1pPr>
          </a:lstStyle>
          <a:p>
            <a:fld id="{CDA22134-EA94-4B2E-9154-EB8F13265450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85384908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468000" y="654869"/>
            <a:ext cx="8208000" cy="463846"/>
          </a:xfrm>
        </p:spPr>
        <p:txBody>
          <a:bodyPr vert="horz" lIns="90000" tIns="46800" rIns="90000" bIns="46800" rtlCol="0" anchor="b" anchorCtr="0">
            <a:spAutoFit/>
          </a:bodyPr>
          <a:lstStyle>
            <a:lvl1pPr>
              <a:defRPr lang="nb-NO" sz="2400"/>
            </a:lvl1pPr>
          </a:lstStyle>
          <a:p>
            <a:pPr lvl="0"/>
            <a:r>
              <a:rPr lang="nb-NO" smtClean="0"/>
              <a:t>Klikk for å redigere tittelstil</a:t>
            </a:r>
            <a:endParaRPr lang="nb-NO"/>
          </a:p>
        </p:txBody>
      </p:sp>
      <p:sp>
        <p:nvSpPr>
          <p:cNvPr id="14" name="Plassholder for innhold 2"/>
          <p:cNvSpPr>
            <a:spLocks noGrp="1"/>
          </p:cNvSpPr>
          <p:nvPr>
            <p:ph idx="1"/>
          </p:nvPr>
        </p:nvSpPr>
        <p:spPr>
          <a:xfrm>
            <a:off x="468000" y="1993538"/>
            <a:ext cx="3960000" cy="2675334"/>
          </a:xfrm>
        </p:spPr>
        <p:txBody>
          <a:bodyPr>
            <a:normAutofit/>
          </a:bodyPr>
          <a:lstStyle>
            <a:lvl1pPr marL="182563" indent="-182563">
              <a:defRPr sz="1200"/>
            </a:lvl1pPr>
            <a:lvl2pPr marL="358775" indent="-176213">
              <a:defRPr sz="1100"/>
            </a:lvl2pPr>
            <a:lvl3pPr marL="541338" indent="-182563">
              <a:defRPr sz="1100"/>
            </a:lvl3pPr>
            <a:lvl4pPr marL="715963" indent="-174625">
              <a:defRPr sz="1100"/>
            </a:lvl4pPr>
            <a:lvl5pPr>
              <a:defRPr sz="1100"/>
            </a:lvl5pPr>
          </a:lstStyle>
          <a:p>
            <a:pPr lvl="0"/>
            <a:r>
              <a:rPr lang="nb-NO" dirty="0" smtClean="0"/>
              <a:t>Klikk for å redigere tekststiler i malen</a:t>
            </a:r>
          </a:p>
          <a:p>
            <a:pPr lvl="1"/>
            <a:r>
              <a:rPr lang="nb-NO" dirty="0" smtClean="0"/>
              <a:t>Andre nivå</a:t>
            </a:r>
          </a:p>
          <a:p>
            <a:pPr lvl="2"/>
            <a:r>
              <a:rPr lang="nb-NO" dirty="0" smtClean="0"/>
              <a:t>Tredje nivå</a:t>
            </a:r>
          </a:p>
          <a:p>
            <a:pPr lvl="3"/>
            <a:r>
              <a:rPr lang="nb-NO" dirty="0" smtClean="0"/>
              <a:t>Fjerde nivå</a:t>
            </a:r>
          </a:p>
        </p:txBody>
      </p:sp>
      <p:sp>
        <p:nvSpPr>
          <p:cNvPr id="15" name="Plassholder for innhold 2"/>
          <p:cNvSpPr>
            <a:spLocks noGrp="1"/>
          </p:cNvSpPr>
          <p:nvPr>
            <p:ph idx="11"/>
          </p:nvPr>
        </p:nvSpPr>
        <p:spPr>
          <a:xfrm>
            <a:off x="4724400" y="1993538"/>
            <a:ext cx="3960000" cy="2675334"/>
          </a:xfrm>
        </p:spPr>
        <p:txBody>
          <a:bodyPr vert="horz" lIns="90000" tIns="46800" rIns="90000" bIns="46800" rtlCol="0">
            <a:normAutofit/>
          </a:bodyPr>
          <a:lstStyle>
            <a:lvl1pPr>
              <a:defRPr lang="nb-NO" dirty="0" smtClean="0"/>
            </a:lvl1pPr>
            <a:lvl2pPr>
              <a:defRPr lang="nb-NO" sz="1100" dirty="0" smtClean="0"/>
            </a:lvl2pPr>
            <a:lvl3pPr>
              <a:defRPr lang="nb-NO" sz="1100" dirty="0" smtClean="0"/>
            </a:lvl3pPr>
            <a:lvl4pPr>
              <a:defRPr lang="nb-NO" sz="1100" dirty="0" smtClean="0"/>
            </a:lvl4pPr>
          </a:lstStyle>
          <a:p>
            <a:pPr marL="182563" lvl="0" indent="-182563"/>
            <a:r>
              <a:rPr lang="nb-NO" dirty="0" smtClean="0"/>
              <a:t>Klikk for å redigere tekststiler i malen</a:t>
            </a:r>
          </a:p>
          <a:p>
            <a:pPr marL="358775" lvl="1" indent="-176213"/>
            <a:r>
              <a:rPr lang="nb-NO" dirty="0" smtClean="0"/>
              <a:t>Andre nivå</a:t>
            </a:r>
          </a:p>
          <a:p>
            <a:pPr marL="541338" lvl="2" indent="-182563"/>
            <a:r>
              <a:rPr lang="nb-NO" dirty="0" smtClean="0"/>
              <a:t>Tredje nivå</a:t>
            </a:r>
          </a:p>
          <a:p>
            <a:pPr marL="715963" lvl="3" indent="-174625"/>
            <a:r>
              <a:rPr lang="nb-NO" dirty="0" smtClean="0"/>
              <a:t>Fjerde nivå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468000" y="1274400"/>
            <a:ext cx="3960000" cy="719138"/>
          </a:xfrm>
        </p:spPr>
        <p:txBody>
          <a:bodyPr anchor="t">
            <a:normAutofit/>
          </a:bodyPr>
          <a:lstStyle>
            <a:lvl1pPr marL="0" indent="0">
              <a:buNone/>
              <a:defRPr sz="1500" b="1"/>
            </a:lvl1pPr>
          </a:lstStyle>
          <a:p>
            <a:pPr lvl="0"/>
            <a:r>
              <a:rPr lang="nb-NO" smtClean="0"/>
              <a:t>Klikk for å redigere tekststiler i malen</a:t>
            </a:r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3"/>
          </p:nvPr>
        </p:nvSpPr>
        <p:spPr>
          <a:xfrm>
            <a:off x="4724400" y="1274400"/>
            <a:ext cx="3960000" cy="719138"/>
          </a:xfrm>
        </p:spPr>
        <p:txBody>
          <a:bodyPr anchor="t">
            <a:normAutofit/>
          </a:bodyPr>
          <a:lstStyle>
            <a:lvl1pPr marL="0" indent="0">
              <a:buNone/>
              <a:defRPr sz="1500" b="1"/>
            </a:lvl1pPr>
          </a:lstStyle>
          <a:p>
            <a:pPr lvl="0"/>
            <a:r>
              <a:rPr lang="nb-NO" smtClean="0"/>
              <a:t>Klikk for å redigere tekststiler i malen</a:t>
            </a:r>
          </a:p>
        </p:txBody>
      </p:sp>
      <p:sp>
        <p:nvSpPr>
          <p:cNvPr id="11" name="Plassholder for dato 3"/>
          <p:cNvSpPr>
            <a:spLocks noGrp="1"/>
          </p:cNvSpPr>
          <p:nvPr>
            <p:ph type="dt" sz="half" idx="2"/>
          </p:nvPr>
        </p:nvSpPr>
        <p:spPr>
          <a:xfrm>
            <a:off x="6732240" y="4993003"/>
            <a:ext cx="1080120" cy="108011"/>
          </a:xfrm>
          <a:prstGeom prst="rect">
            <a:avLst/>
          </a:prstGeom>
        </p:spPr>
        <p:txBody>
          <a:bodyPr anchor="ctr" anchorCtr="0"/>
          <a:lstStyle>
            <a:lvl1pPr>
              <a:defRPr sz="800">
                <a:solidFill>
                  <a:srgbClr val="003244"/>
                </a:solidFill>
              </a:defRPr>
            </a:lvl1pPr>
          </a:lstStyle>
          <a:p>
            <a:r>
              <a:rPr lang="nb-NO" smtClean="0"/>
              <a:t>08.06.2015</a:t>
            </a:r>
            <a:endParaRPr lang="nb-NO" dirty="0"/>
          </a:p>
        </p:txBody>
      </p:sp>
      <p:sp>
        <p:nvSpPr>
          <p:cNvPr id="13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6732240" y="4776979"/>
            <a:ext cx="2160240" cy="162017"/>
          </a:xfrm>
          <a:prstGeom prst="rect">
            <a:avLst/>
          </a:prstGeom>
        </p:spPr>
        <p:txBody>
          <a:bodyPr anchor="ctr" anchorCtr="0"/>
          <a:lstStyle>
            <a:lvl1pPr algn="l">
              <a:defRPr sz="1000" b="1">
                <a:solidFill>
                  <a:srgbClr val="039BAF"/>
                </a:solidFill>
              </a:defRPr>
            </a:lvl1pPr>
          </a:lstStyle>
          <a:p>
            <a:r>
              <a:rPr lang="nb-NO" smtClean="0"/>
              <a:t>KMD</a:t>
            </a:r>
            <a:endParaRPr lang="nb-NO" dirty="0"/>
          </a:p>
        </p:txBody>
      </p:sp>
      <p:sp>
        <p:nvSpPr>
          <p:cNvPr id="17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7884368" y="4993003"/>
            <a:ext cx="648072" cy="108011"/>
          </a:xfrm>
          <a:prstGeom prst="rect">
            <a:avLst/>
          </a:prstGeom>
        </p:spPr>
        <p:txBody>
          <a:bodyPr anchor="ctr" anchorCtr="0"/>
          <a:lstStyle>
            <a:lvl1pPr>
              <a:defRPr sz="800">
                <a:solidFill>
                  <a:srgbClr val="003244"/>
                </a:solidFill>
              </a:defRPr>
            </a:lvl1pPr>
          </a:lstStyle>
          <a:p>
            <a:fld id="{CDA22134-EA94-4B2E-9154-EB8F13265450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69679388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468000" y="2211710"/>
            <a:ext cx="8208000" cy="525401"/>
          </a:xfrm>
        </p:spPr>
        <p:txBody>
          <a:bodyPr/>
          <a:lstStyle>
            <a:lvl1pPr>
              <a:defRPr sz="2800"/>
            </a:lvl1pPr>
          </a:lstStyle>
          <a:p>
            <a:r>
              <a:rPr lang="nb-NO" smtClean="0"/>
              <a:t>Klikk for å redigere tittelstil</a:t>
            </a:r>
            <a:endParaRPr lang="nb-NO"/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468000" y="2787774"/>
            <a:ext cx="8208000" cy="432048"/>
          </a:xfrm>
        </p:spPr>
        <p:txBody>
          <a:bodyPr vert="horz" lIns="90000" tIns="46800" rIns="90000" bIns="46800" rtlCol="0">
            <a:normAutofit/>
          </a:bodyPr>
          <a:lstStyle>
            <a:lvl1pPr marL="0" indent="0">
              <a:buNone/>
              <a:defRPr lang="nb-NO" smtClean="0"/>
            </a:lvl1pPr>
            <a:lvl2pPr>
              <a:defRPr lang="nb-NO" sz="1100" smtClean="0"/>
            </a:lvl2pPr>
            <a:lvl3pPr>
              <a:defRPr lang="nb-NO" sz="1100" smtClean="0"/>
            </a:lvl3pPr>
            <a:lvl4pPr>
              <a:defRPr lang="nb-NO" sz="1100" smtClean="0"/>
            </a:lvl4pPr>
            <a:lvl5pPr>
              <a:defRPr lang="nb-NO" sz="1100"/>
            </a:lvl5pPr>
          </a:lstStyle>
          <a:p>
            <a:pPr marL="182563" lvl="0" indent="-182563"/>
            <a:r>
              <a:rPr lang="nb-NO" dirty="0" smtClean="0"/>
              <a:t>Klikk for å redigere tekststiler i malen</a:t>
            </a:r>
          </a:p>
        </p:txBody>
      </p:sp>
      <p:sp>
        <p:nvSpPr>
          <p:cNvPr id="7" name="Plassholder for dato 3"/>
          <p:cNvSpPr>
            <a:spLocks noGrp="1"/>
          </p:cNvSpPr>
          <p:nvPr>
            <p:ph type="dt" sz="half" idx="2"/>
          </p:nvPr>
        </p:nvSpPr>
        <p:spPr>
          <a:xfrm>
            <a:off x="6732240" y="4993003"/>
            <a:ext cx="1080120" cy="108011"/>
          </a:xfrm>
          <a:prstGeom prst="rect">
            <a:avLst/>
          </a:prstGeom>
        </p:spPr>
        <p:txBody>
          <a:bodyPr anchor="ctr" anchorCtr="0"/>
          <a:lstStyle>
            <a:lvl1pPr>
              <a:defRPr sz="800">
                <a:solidFill>
                  <a:srgbClr val="003244"/>
                </a:solidFill>
              </a:defRPr>
            </a:lvl1pPr>
          </a:lstStyle>
          <a:p>
            <a:r>
              <a:rPr lang="nb-NO" smtClean="0"/>
              <a:t>08.06.2015</a:t>
            </a:r>
            <a:endParaRPr lang="nb-NO" dirty="0"/>
          </a:p>
        </p:txBody>
      </p:sp>
      <p:sp>
        <p:nvSpPr>
          <p:cNvPr id="8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6732240" y="4776979"/>
            <a:ext cx="2160240" cy="162017"/>
          </a:xfrm>
          <a:prstGeom prst="rect">
            <a:avLst/>
          </a:prstGeom>
        </p:spPr>
        <p:txBody>
          <a:bodyPr anchor="ctr" anchorCtr="0"/>
          <a:lstStyle>
            <a:lvl1pPr algn="l">
              <a:defRPr sz="1000" b="1">
                <a:solidFill>
                  <a:srgbClr val="039BAF"/>
                </a:solidFill>
              </a:defRPr>
            </a:lvl1pPr>
          </a:lstStyle>
          <a:p>
            <a:r>
              <a:rPr lang="nb-NO" smtClean="0"/>
              <a:t>KMD</a:t>
            </a:r>
            <a:endParaRPr lang="nb-NO" dirty="0"/>
          </a:p>
        </p:txBody>
      </p:sp>
      <p:sp>
        <p:nvSpPr>
          <p:cNvPr id="9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7884368" y="4993003"/>
            <a:ext cx="648072" cy="108011"/>
          </a:xfrm>
          <a:prstGeom prst="rect">
            <a:avLst/>
          </a:prstGeom>
        </p:spPr>
        <p:txBody>
          <a:bodyPr anchor="ctr" anchorCtr="0"/>
          <a:lstStyle>
            <a:lvl1pPr>
              <a:defRPr sz="800">
                <a:solidFill>
                  <a:srgbClr val="003244"/>
                </a:solidFill>
              </a:defRPr>
            </a:lvl1pPr>
          </a:lstStyle>
          <a:p>
            <a:fld id="{CDA22134-EA94-4B2E-9154-EB8F13265450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422334170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tel og innhold #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ktangel 3"/>
          <p:cNvSpPr/>
          <p:nvPr/>
        </p:nvSpPr>
        <p:spPr>
          <a:xfrm>
            <a:off x="0" y="4743900"/>
            <a:ext cx="9144000" cy="3996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nb-NO">
              <a:solidFill>
                <a:prstClr val="white"/>
              </a:solidFill>
            </a:endParaRPr>
          </a:p>
        </p:txBody>
      </p:sp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468000" y="654869"/>
            <a:ext cx="8208000" cy="463846"/>
          </a:xfrm>
        </p:spPr>
        <p:txBody>
          <a:bodyPr vert="horz" lIns="90000" tIns="46800" rIns="90000" bIns="46800" rtlCol="0" anchor="b" anchorCtr="0">
            <a:spAutoFit/>
          </a:bodyPr>
          <a:lstStyle>
            <a:lvl1pPr>
              <a:defRPr lang="nb-NO" sz="2400"/>
            </a:lvl1pPr>
          </a:lstStyle>
          <a:p>
            <a:pPr lvl="0"/>
            <a:r>
              <a:rPr lang="nb-NO" smtClean="0"/>
              <a:t>Klikk for å redigere tittelstil</a:t>
            </a:r>
            <a:endParaRPr lang="nb-NO"/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/>
        <p:txBody>
          <a:bodyPr vert="horz" lIns="90000" tIns="46800" rIns="90000" bIns="46800" rtlCol="0">
            <a:normAutofit/>
          </a:bodyPr>
          <a:lstStyle>
            <a:lvl1pPr>
              <a:defRPr lang="nb-NO" smtClean="0"/>
            </a:lvl1pPr>
            <a:lvl2pPr>
              <a:defRPr lang="nb-NO" sz="1100" smtClean="0"/>
            </a:lvl2pPr>
            <a:lvl3pPr>
              <a:defRPr lang="nb-NO" sz="1100" smtClean="0"/>
            </a:lvl3pPr>
            <a:lvl4pPr>
              <a:defRPr lang="nb-NO" sz="1100" smtClean="0"/>
            </a:lvl4pPr>
            <a:lvl5pPr>
              <a:defRPr lang="nb-NO" sz="1100"/>
            </a:lvl5pPr>
          </a:lstStyle>
          <a:p>
            <a:pPr marL="182563" lvl="0" indent="-182563"/>
            <a:r>
              <a:rPr lang="nb-NO" smtClean="0"/>
              <a:t>Klikk for å redigere tekststiler i malen</a:t>
            </a:r>
          </a:p>
          <a:p>
            <a:pPr marL="358775" lvl="1" indent="-176213"/>
            <a:r>
              <a:rPr lang="nb-NO" smtClean="0"/>
              <a:t>Andre nivå</a:t>
            </a:r>
          </a:p>
          <a:p>
            <a:pPr marL="541338" lvl="2" indent="-182563"/>
            <a:r>
              <a:rPr lang="nb-NO" smtClean="0"/>
              <a:t>Tredje nivå</a:t>
            </a:r>
          </a:p>
          <a:p>
            <a:pPr marL="715963" lvl="3" indent="-174625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nb-NO"/>
          </a:p>
        </p:txBody>
      </p:sp>
      <p:sp>
        <p:nvSpPr>
          <p:cNvPr id="7" name="Plassholder for dato 3"/>
          <p:cNvSpPr>
            <a:spLocks noGrp="1"/>
          </p:cNvSpPr>
          <p:nvPr>
            <p:ph type="dt" sz="half" idx="2"/>
          </p:nvPr>
        </p:nvSpPr>
        <p:spPr>
          <a:xfrm>
            <a:off x="6732240" y="4993003"/>
            <a:ext cx="1080120" cy="108011"/>
          </a:xfrm>
          <a:prstGeom prst="rect">
            <a:avLst/>
          </a:prstGeom>
        </p:spPr>
        <p:txBody>
          <a:bodyPr anchor="ctr" anchorCtr="0"/>
          <a:lstStyle>
            <a:lvl1pPr>
              <a:defRPr sz="800">
                <a:solidFill>
                  <a:schemeClr val="bg1"/>
                </a:solidFill>
              </a:defRPr>
            </a:lvl1pPr>
          </a:lstStyle>
          <a:p>
            <a:r>
              <a:rPr lang="nb-NO" smtClean="0">
                <a:solidFill>
                  <a:prstClr val="white"/>
                </a:solidFill>
              </a:rPr>
              <a:t>08.06.2015</a:t>
            </a:r>
            <a:endParaRPr lang="nb-NO" dirty="0">
              <a:solidFill>
                <a:prstClr val="white"/>
              </a:solidFill>
            </a:endParaRPr>
          </a:p>
        </p:txBody>
      </p:sp>
      <p:sp>
        <p:nvSpPr>
          <p:cNvPr id="8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6732240" y="4776979"/>
            <a:ext cx="2160240" cy="162017"/>
          </a:xfrm>
          <a:prstGeom prst="rect">
            <a:avLst/>
          </a:prstGeom>
        </p:spPr>
        <p:txBody>
          <a:bodyPr anchor="ctr" anchorCtr="0"/>
          <a:lstStyle>
            <a:lvl1pPr algn="l">
              <a:defRPr sz="1000" b="1">
                <a:solidFill>
                  <a:schemeClr val="bg1"/>
                </a:solidFill>
              </a:defRPr>
            </a:lvl1pPr>
          </a:lstStyle>
          <a:p>
            <a:r>
              <a:rPr lang="nb-NO" smtClean="0">
                <a:solidFill>
                  <a:prstClr val="white"/>
                </a:solidFill>
              </a:rPr>
              <a:t>KMD</a:t>
            </a:r>
            <a:endParaRPr lang="nb-NO" dirty="0">
              <a:solidFill>
                <a:prstClr val="white"/>
              </a:solidFill>
            </a:endParaRPr>
          </a:p>
        </p:txBody>
      </p:sp>
      <p:sp>
        <p:nvSpPr>
          <p:cNvPr id="9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7884368" y="4993003"/>
            <a:ext cx="648072" cy="108011"/>
          </a:xfrm>
          <a:prstGeom prst="rect">
            <a:avLst/>
          </a:prstGeom>
        </p:spPr>
        <p:txBody>
          <a:bodyPr anchor="ctr" anchorCtr="0"/>
          <a:lstStyle>
            <a:lvl1pPr>
              <a:defRPr sz="800">
                <a:solidFill>
                  <a:schemeClr val="bg1"/>
                </a:solidFill>
              </a:defRPr>
            </a:lvl1pPr>
          </a:lstStyle>
          <a:p>
            <a:fld id="{CDA22134-EA94-4B2E-9154-EB8F13265450}" type="slidenum">
              <a:rPr lang="nb-NO" smtClean="0">
                <a:solidFill>
                  <a:prstClr val="white"/>
                </a:solidFill>
              </a:rPr>
              <a:pPr/>
              <a:t>‹#›</a:t>
            </a:fld>
            <a:endParaRPr lang="nb-NO" dirty="0">
              <a:solidFill>
                <a:prstClr val="white"/>
              </a:solidFill>
            </a:endParaRPr>
          </a:p>
        </p:txBody>
      </p:sp>
      <p:pic>
        <p:nvPicPr>
          <p:cNvPr id="5" name="Bilde 4"/>
          <p:cNvPicPr>
            <a:picLocks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6401" y="4895100"/>
            <a:ext cx="1076709" cy="145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9934192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o innholdsdeler #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468000" y="654869"/>
            <a:ext cx="8208000" cy="463846"/>
          </a:xfrm>
        </p:spPr>
        <p:txBody>
          <a:bodyPr vert="horz" lIns="90000" tIns="46800" rIns="90000" bIns="46800" rtlCol="0" anchor="b" anchorCtr="0">
            <a:spAutoFit/>
          </a:bodyPr>
          <a:lstStyle>
            <a:lvl1pPr>
              <a:defRPr lang="nb-NO" sz="2400"/>
            </a:lvl1pPr>
          </a:lstStyle>
          <a:p>
            <a:pPr lvl="0"/>
            <a:r>
              <a:rPr lang="nb-NO" smtClean="0"/>
              <a:t>Klikk for å redigere tittelstil</a:t>
            </a:r>
            <a:endParaRPr lang="nb-NO"/>
          </a:p>
        </p:txBody>
      </p:sp>
      <p:sp>
        <p:nvSpPr>
          <p:cNvPr id="14" name="Plassholder for innhold 2"/>
          <p:cNvSpPr>
            <a:spLocks noGrp="1"/>
          </p:cNvSpPr>
          <p:nvPr>
            <p:ph idx="1"/>
          </p:nvPr>
        </p:nvSpPr>
        <p:spPr>
          <a:xfrm>
            <a:off x="468000" y="1274400"/>
            <a:ext cx="3960000" cy="3394472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nb-NO" smtClean="0"/>
              <a:t>Klikk for å redigere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  <a:p>
            <a:pPr lvl="3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nb-NO"/>
          </a:p>
        </p:txBody>
      </p:sp>
      <p:sp>
        <p:nvSpPr>
          <p:cNvPr id="15" name="Plassholder for innhold 2"/>
          <p:cNvSpPr>
            <a:spLocks noGrp="1"/>
          </p:cNvSpPr>
          <p:nvPr>
            <p:ph idx="11"/>
          </p:nvPr>
        </p:nvSpPr>
        <p:spPr>
          <a:xfrm>
            <a:off x="4724400" y="1274400"/>
            <a:ext cx="3960000" cy="3394472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nb-NO" smtClean="0"/>
              <a:t>Klikk for å redigere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  <a:p>
            <a:pPr lvl="3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nb-NO"/>
          </a:p>
        </p:txBody>
      </p:sp>
      <p:sp>
        <p:nvSpPr>
          <p:cNvPr id="8" name="Rektangel 7"/>
          <p:cNvSpPr/>
          <p:nvPr/>
        </p:nvSpPr>
        <p:spPr>
          <a:xfrm>
            <a:off x="0" y="4743900"/>
            <a:ext cx="9144000" cy="3996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nb-NO">
              <a:solidFill>
                <a:prstClr val="white"/>
              </a:solidFill>
            </a:endParaRPr>
          </a:p>
        </p:txBody>
      </p:sp>
      <p:sp>
        <p:nvSpPr>
          <p:cNvPr id="9" name="Plassholder for dato 3"/>
          <p:cNvSpPr>
            <a:spLocks noGrp="1"/>
          </p:cNvSpPr>
          <p:nvPr>
            <p:ph type="dt" sz="half" idx="2"/>
          </p:nvPr>
        </p:nvSpPr>
        <p:spPr>
          <a:xfrm>
            <a:off x="6732240" y="4993003"/>
            <a:ext cx="1080120" cy="108011"/>
          </a:xfrm>
          <a:prstGeom prst="rect">
            <a:avLst/>
          </a:prstGeom>
        </p:spPr>
        <p:txBody>
          <a:bodyPr anchor="ctr" anchorCtr="0"/>
          <a:lstStyle>
            <a:lvl1pPr>
              <a:defRPr sz="800">
                <a:solidFill>
                  <a:schemeClr val="bg1"/>
                </a:solidFill>
              </a:defRPr>
            </a:lvl1pPr>
          </a:lstStyle>
          <a:p>
            <a:r>
              <a:rPr lang="nb-NO" smtClean="0">
                <a:solidFill>
                  <a:prstClr val="white"/>
                </a:solidFill>
              </a:rPr>
              <a:t>08.06.2015</a:t>
            </a:r>
            <a:endParaRPr lang="nb-NO" dirty="0">
              <a:solidFill>
                <a:prstClr val="white"/>
              </a:solidFill>
            </a:endParaRPr>
          </a:p>
        </p:txBody>
      </p:sp>
      <p:sp>
        <p:nvSpPr>
          <p:cNvPr id="10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6732240" y="4776979"/>
            <a:ext cx="2160240" cy="162017"/>
          </a:xfrm>
          <a:prstGeom prst="rect">
            <a:avLst/>
          </a:prstGeom>
        </p:spPr>
        <p:txBody>
          <a:bodyPr anchor="ctr" anchorCtr="0"/>
          <a:lstStyle>
            <a:lvl1pPr algn="l">
              <a:defRPr sz="1000" b="1">
                <a:solidFill>
                  <a:schemeClr val="bg1"/>
                </a:solidFill>
              </a:defRPr>
            </a:lvl1pPr>
          </a:lstStyle>
          <a:p>
            <a:r>
              <a:rPr lang="nb-NO" smtClean="0">
                <a:solidFill>
                  <a:prstClr val="white"/>
                </a:solidFill>
              </a:rPr>
              <a:t>KMD</a:t>
            </a:r>
            <a:endParaRPr lang="nb-NO" dirty="0">
              <a:solidFill>
                <a:prstClr val="white"/>
              </a:solidFill>
            </a:endParaRPr>
          </a:p>
        </p:txBody>
      </p:sp>
      <p:sp>
        <p:nvSpPr>
          <p:cNvPr id="16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7884368" y="4993003"/>
            <a:ext cx="648072" cy="108011"/>
          </a:xfrm>
          <a:prstGeom prst="rect">
            <a:avLst/>
          </a:prstGeom>
        </p:spPr>
        <p:txBody>
          <a:bodyPr anchor="ctr" anchorCtr="0"/>
          <a:lstStyle>
            <a:lvl1pPr>
              <a:defRPr sz="800">
                <a:solidFill>
                  <a:schemeClr val="bg1"/>
                </a:solidFill>
              </a:defRPr>
            </a:lvl1pPr>
          </a:lstStyle>
          <a:p>
            <a:fld id="{CDA22134-EA94-4B2E-9154-EB8F13265450}" type="slidenum">
              <a:rPr lang="nb-NO" smtClean="0">
                <a:solidFill>
                  <a:prstClr val="white"/>
                </a:solidFill>
              </a:rPr>
              <a:pPr/>
              <a:t>‹#›</a:t>
            </a:fld>
            <a:endParaRPr lang="nb-NO" dirty="0">
              <a:solidFill>
                <a:prstClr val="white"/>
              </a:solidFill>
            </a:endParaRPr>
          </a:p>
        </p:txBody>
      </p:sp>
      <p:pic>
        <p:nvPicPr>
          <p:cNvPr id="11" name="Bilde 10"/>
          <p:cNvPicPr>
            <a:picLocks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6401" y="4895100"/>
            <a:ext cx="1076709" cy="145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8638764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ire innholdsdeler #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468000" y="654869"/>
            <a:ext cx="8208000" cy="463846"/>
          </a:xfrm>
        </p:spPr>
        <p:txBody>
          <a:bodyPr vert="horz" lIns="90000" tIns="46800" rIns="90000" bIns="46800" rtlCol="0" anchor="b" anchorCtr="0">
            <a:spAutoFit/>
          </a:bodyPr>
          <a:lstStyle>
            <a:lvl1pPr>
              <a:defRPr lang="nb-NO" sz="2400"/>
            </a:lvl1pPr>
          </a:lstStyle>
          <a:p>
            <a:pPr lvl="0"/>
            <a:r>
              <a:rPr lang="nb-NO" smtClean="0"/>
              <a:t>Klikk for å redigere tittelstil</a:t>
            </a:r>
            <a:endParaRPr lang="nb-NO"/>
          </a:p>
        </p:txBody>
      </p:sp>
      <p:sp>
        <p:nvSpPr>
          <p:cNvPr id="14" name="Plassholder for innhold 2"/>
          <p:cNvSpPr>
            <a:spLocks noGrp="1"/>
          </p:cNvSpPr>
          <p:nvPr>
            <p:ph idx="1"/>
          </p:nvPr>
        </p:nvSpPr>
        <p:spPr>
          <a:xfrm>
            <a:off x="468000" y="1274400"/>
            <a:ext cx="3960000" cy="1620000"/>
          </a:xfrm>
        </p:spPr>
        <p:txBody>
          <a:bodyPr vert="horz" lIns="90000" tIns="46800" rIns="90000" bIns="46800" rtlCol="0">
            <a:normAutofit/>
          </a:bodyPr>
          <a:lstStyle>
            <a:lvl1pPr>
              <a:defRPr lang="nb-NO" smtClean="0"/>
            </a:lvl1pPr>
            <a:lvl2pPr>
              <a:defRPr lang="nb-NO" sz="1100" smtClean="0"/>
            </a:lvl2pPr>
            <a:lvl3pPr>
              <a:defRPr lang="nb-NO" sz="1100" smtClean="0"/>
            </a:lvl3pPr>
            <a:lvl4pPr>
              <a:defRPr lang="nb-NO" sz="1100" smtClean="0"/>
            </a:lvl4pPr>
            <a:lvl5pPr>
              <a:defRPr lang="nb-NO" sz="1100" dirty="0"/>
            </a:lvl5pPr>
          </a:lstStyle>
          <a:p>
            <a:pPr marL="182563" lvl="0" indent="-182563"/>
            <a:r>
              <a:rPr lang="nb-NO" smtClean="0"/>
              <a:t>Klikk for å redigere tekststiler i malen</a:t>
            </a:r>
          </a:p>
          <a:p>
            <a:pPr marL="358775" lvl="1" indent="-176213"/>
            <a:r>
              <a:rPr lang="nb-NO" smtClean="0"/>
              <a:t>Andre nivå</a:t>
            </a:r>
          </a:p>
          <a:p>
            <a:pPr marL="541338" lvl="2" indent="-182563"/>
            <a:r>
              <a:rPr lang="nb-NO" smtClean="0"/>
              <a:t>Tredje nivå</a:t>
            </a:r>
          </a:p>
          <a:p>
            <a:pPr marL="715963" lvl="3" indent="-174625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nb-NO" dirty="0"/>
          </a:p>
        </p:txBody>
      </p:sp>
      <p:sp>
        <p:nvSpPr>
          <p:cNvPr id="15" name="Plassholder for innhold 2"/>
          <p:cNvSpPr>
            <a:spLocks noGrp="1"/>
          </p:cNvSpPr>
          <p:nvPr>
            <p:ph idx="11"/>
          </p:nvPr>
        </p:nvSpPr>
        <p:spPr>
          <a:xfrm>
            <a:off x="4724400" y="1274400"/>
            <a:ext cx="3960000" cy="1620000"/>
          </a:xfrm>
        </p:spPr>
        <p:txBody>
          <a:bodyPr vert="horz" lIns="90000" tIns="46800" rIns="90000" bIns="46800" rtlCol="0">
            <a:normAutofit/>
          </a:bodyPr>
          <a:lstStyle>
            <a:lvl1pPr>
              <a:defRPr lang="nb-NO" smtClean="0"/>
            </a:lvl1pPr>
            <a:lvl2pPr>
              <a:defRPr lang="nb-NO" sz="1100" smtClean="0"/>
            </a:lvl2pPr>
            <a:lvl3pPr>
              <a:defRPr lang="nb-NO" sz="1100" smtClean="0"/>
            </a:lvl3pPr>
            <a:lvl4pPr>
              <a:defRPr lang="nb-NO" sz="1100" smtClean="0"/>
            </a:lvl4pPr>
            <a:lvl5pPr>
              <a:defRPr lang="nb-NO" sz="1100"/>
            </a:lvl5pPr>
          </a:lstStyle>
          <a:p>
            <a:pPr marL="182563" lvl="0" indent="-182563"/>
            <a:r>
              <a:rPr lang="nb-NO" smtClean="0"/>
              <a:t>Klikk for å redigere tekststiler i malen</a:t>
            </a:r>
          </a:p>
          <a:p>
            <a:pPr marL="358775" lvl="1" indent="-176213"/>
            <a:r>
              <a:rPr lang="nb-NO" smtClean="0"/>
              <a:t>Andre nivå</a:t>
            </a:r>
          </a:p>
          <a:p>
            <a:pPr marL="541338" lvl="2" indent="-182563"/>
            <a:r>
              <a:rPr lang="nb-NO" smtClean="0"/>
              <a:t>Tredje nivå</a:t>
            </a:r>
          </a:p>
          <a:p>
            <a:pPr marL="715963" lvl="3" indent="-174625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nb-NO"/>
          </a:p>
        </p:txBody>
      </p:sp>
      <p:sp>
        <p:nvSpPr>
          <p:cNvPr id="8" name="Rektangel 7"/>
          <p:cNvSpPr/>
          <p:nvPr/>
        </p:nvSpPr>
        <p:spPr>
          <a:xfrm>
            <a:off x="0" y="4743900"/>
            <a:ext cx="9144000" cy="3996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nb-NO">
              <a:solidFill>
                <a:prstClr val="white"/>
              </a:solidFill>
            </a:endParaRPr>
          </a:p>
        </p:txBody>
      </p:sp>
      <p:sp>
        <p:nvSpPr>
          <p:cNvPr id="9" name="Plassholder for dato 3"/>
          <p:cNvSpPr>
            <a:spLocks noGrp="1"/>
          </p:cNvSpPr>
          <p:nvPr>
            <p:ph type="dt" sz="half" idx="2"/>
          </p:nvPr>
        </p:nvSpPr>
        <p:spPr>
          <a:xfrm>
            <a:off x="6732240" y="4993003"/>
            <a:ext cx="1080120" cy="108011"/>
          </a:xfrm>
          <a:prstGeom prst="rect">
            <a:avLst/>
          </a:prstGeom>
        </p:spPr>
        <p:txBody>
          <a:bodyPr anchor="ctr" anchorCtr="0"/>
          <a:lstStyle>
            <a:lvl1pPr>
              <a:defRPr sz="800">
                <a:solidFill>
                  <a:schemeClr val="bg1"/>
                </a:solidFill>
              </a:defRPr>
            </a:lvl1pPr>
          </a:lstStyle>
          <a:p>
            <a:r>
              <a:rPr lang="nb-NO" smtClean="0">
                <a:solidFill>
                  <a:prstClr val="white"/>
                </a:solidFill>
              </a:rPr>
              <a:t>08.06.2015</a:t>
            </a:r>
            <a:endParaRPr lang="nb-NO" dirty="0">
              <a:solidFill>
                <a:prstClr val="white"/>
              </a:solidFill>
            </a:endParaRPr>
          </a:p>
        </p:txBody>
      </p:sp>
      <p:sp>
        <p:nvSpPr>
          <p:cNvPr id="10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6732240" y="4776979"/>
            <a:ext cx="2160240" cy="162017"/>
          </a:xfrm>
          <a:prstGeom prst="rect">
            <a:avLst/>
          </a:prstGeom>
        </p:spPr>
        <p:txBody>
          <a:bodyPr anchor="ctr" anchorCtr="0"/>
          <a:lstStyle>
            <a:lvl1pPr algn="l">
              <a:defRPr sz="1000" b="1">
                <a:solidFill>
                  <a:schemeClr val="bg1"/>
                </a:solidFill>
              </a:defRPr>
            </a:lvl1pPr>
          </a:lstStyle>
          <a:p>
            <a:r>
              <a:rPr lang="nb-NO" smtClean="0">
                <a:solidFill>
                  <a:prstClr val="white"/>
                </a:solidFill>
              </a:rPr>
              <a:t>KMD</a:t>
            </a:r>
            <a:endParaRPr lang="nb-NO" dirty="0">
              <a:solidFill>
                <a:prstClr val="white"/>
              </a:solidFill>
            </a:endParaRPr>
          </a:p>
        </p:txBody>
      </p:sp>
      <p:sp>
        <p:nvSpPr>
          <p:cNvPr id="16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7884368" y="4993003"/>
            <a:ext cx="648072" cy="108011"/>
          </a:xfrm>
          <a:prstGeom prst="rect">
            <a:avLst/>
          </a:prstGeom>
        </p:spPr>
        <p:txBody>
          <a:bodyPr anchor="ctr" anchorCtr="0"/>
          <a:lstStyle>
            <a:lvl1pPr>
              <a:defRPr sz="800">
                <a:solidFill>
                  <a:schemeClr val="bg1"/>
                </a:solidFill>
              </a:defRPr>
            </a:lvl1pPr>
          </a:lstStyle>
          <a:p>
            <a:fld id="{CDA22134-EA94-4B2E-9154-EB8F13265450}" type="slidenum">
              <a:rPr lang="nb-NO" smtClean="0">
                <a:solidFill>
                  <a:prstClr val="white"/>
                </a:solidFill>
              </a:rPr>
              <a:pPr/>
              <a:t>‹#›</a:t>
            </a:fld>
            <a:endParaRPr lang="nb-NO" dirty="0">
              <a:solidFill>
                <a:prstClr val="white"/>
              </a:solidFill>
            </a:endParaRPr>
          </a:p>
        </p:txBody>
      </p:sp>
      <p:pic>
        <p:nvPicPr>
          <p:cNvPr id="11" name="Bilde 10"/>
          <p:cNvPicPr>
            <a:picLocks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6401" y="4895100"/>
            <a:ext cx="1076709" cy="145800"/>
          </a:xfrm>
          <a:prstGeom prst="rect">
            <a:avLst/>
          </a:prstGeom>
        </p:spPr>
      </p:pic>
      <p:sp>
        <p:nvSpPr>
          <p:cNvPr id="12" name="Plassholder for innhold 2"/>
          <p:cNvSpPr>
            <a:spLocks noGrp="1"/>
          </p:cNvSpPr>
          <p:nvPr>
            <p:ph idx="12"/>
          </p:nvPr>
        </p:nvSpPr>
        <p:spPr>
          <a:xfrm>
            <a:off x="468000" y="3047231"/>
            <a:ext cx="3960000" cy="1620000"/>
          </a:xfrm>
        </p:spPr>
        <p:txBody>
          <a:bodyPr vert="horz" lIns="90000" tIns="46800" rIns="90000" bIns="46800" rtlCol="0">
            <a:normAutofit/>
          </a:bodyPr>
          <a:lstStyle>
            <a:lvl1pPr>
              <a:defRPr lang="nb-NO" smtClean="0"/>
            </a:lvl1pPr>
            <a:lvl2pPr>
              <a:defRPr lang="nb-NO" sz="1100" smtClean="0"/>
            </a:lvl2pPr>
            <a:lvl3pPr>
              <a:defRPr lang="nb-NO" sz="1100" smtClean="0"/>
            </a:lvl3pPr>
            <a:lvl4pPr>
              <a:defRPr lang="nb-NO" sz="1100" smtClean="0"/>
            </a:lvl4pPr>
            <a:lvl5pPr>
              <a:defRPr lang="nb-NO" sz="1100" dirty="0"/>
            </a:lvl5pPr>
          </a:lstStyle>
          <a:p>
            <a:pPr marL="182563" lvl="0" indent="-182563"/>
            <a:r>
              <a:rPr lang="nb-NO" smtClean="0"/>
              <a:t>Klikk for å redigere tekststiler i malen</a:t>
            </a:r>
          </a:p>
          <a:p>
            <a:pPr marL="358775" lvl="1" indent="-176213"/>
            <a:r>
              <a:rPr lang="nb-NO" smtClean="0"/>
              <a:t>Andre nivå</a:t>
            </a:r>
          </a:p>
          <a:p>
            <a:pPr marL="541338" lvl="2" indent="-182563"/>
            <a:r>
              <a:rPr lang="nb-NO" smtClean="0"/>
              <a:t>Tredje nivå</a:t>
            </a:r>
          </a:p>
          <a:p>
            <a:pPr marL="715963" lvl="3" indent="-174625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nb-NO" dirty="0"/>
          </a:p>
        </p:txBody>
      </p:sp>
      <p:sp>
        <p:nvSpPr>
          <p:cNvPr id="13" name="Plassholder for innhold 2"/>
          <p:cNvSpPr>
            <a:spLocks noGrp="1"/>
          </p:cNvSpPr>
          <p:nvPr>
            <p:ph idx="13"/>
          </p:nvPr>
        </p:nvSpPr>
        <p:spPr>
          <a:xfrm>
            <a:off x="4724400" y="3047231"/>
            <a:ext cx="3960000" cy="1620000"/>
          </a:xfrm>
        </p:spPr>
        <p:txBody>
          <a:bodyPr vert="horz" lIns="90000" tIns="46800" rIns="90000" bIns="46800" rtlCol="0">
            <a:normAutofit/>
          </a:bodyPr>
          <a:lstStyle>
            <a:lvl1pPr>
              <a:defRPr lang="nb-NO" smtClean="0"/>
            </a:lvl1pPr>
            <a:lvl2pPr>
              <a:defRPr lang="nb-NO" sz="1100" smtClean="0"/>
            </a:lvl2pPr>
            <a:lvl3pPr>
              <a:defRPr lang="nb-NO" sz="1100" smtClean="0"/>
            </a:lvl3pPr>
            <a:lvl4pPr>
              <a:defRPr lang="nb-NO" sz="1100" smtClean="0"/>
            </a:lvl4pPr>
            <a:lvl5pPr>
              <a:defRPr lang="nb-NO" sz="1100"/>
            </a:lvl5pPr>
          </a:lstStyle>
          <a:p>
            <a:pPr marL="182563" lvl="0" indent="-182563"/>
            <a:r>
              <a:rPr lang="nb-NO" smtClean="0"/>
              <a:t>Klikk for å redigere tekststiler i malen</a:t>
            </a:r>
          </a:p>
          <a:p>
            <a:pPr marL="358775" lvl="1" indent="-176213"/>
            <a:r>
              <a:rPr lang="nb-NO" smtClean="0"/>
              <a:t>Andre nivå</a:t>
            </a:r>
          </a:p>
          <a:p>
            <a:pPr marL="541338" lvl="2" indent="-182563"/>
            <a:r>
              <a:rPr lang="nb-NO" smtClean="0"/>
              <a:t>Tredje nivå</a:t>
            </a:r>
          </a:p>
          <a:p>
            <a:pPr marL="715963" lvl="3" indent="-174625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61680860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ammenligning #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468000" y="654869"/>
            <a:ext cx="8208000" cy="463846"/>
          </a:xfrm>
        </p:spPr>
        <p:txBody>
          <a:bodyPr vert="horz" lIns="90000" tIns="46800" rIns="90000" bIns="46800" rtlCol="0" anchor="b" anchorCtr="0">
            <a:spAutoFit/>
          </a:bodyPr>
          <a:lstStyle>
            <a:lvl1pPr>
              <a:defRPr lang="nb-NO" sz="2400"/>
            </a:lvl1pPr>
          </a:lstStyle>
          <a:p>
            <a:pPr lvl="0"/>
            <a:r>
              <a:rPr lang="nb-NO" smtClean="0"/>
              <a:t>Klikk for å redigere tittelstil</a:t>
            </a:r>
            <a:endParaRPr lang="nb-NO"/>
          </a:p>
        </p:txBody>
      </p:sp>
      <p:sp>
        <p:nvSpPr>
          <p:cNvPr id="14" name="Plassholder for innhold 2"/>
          <p:cNvSpPr>
            <a:spLocks noGrp="1"/>
          </p:cNvSpPr>
          <p:nvPr>
            <p:ph idx="1"/>
          </p:nvPr>
        </p:nvSpPr>
        <p:spPr>
          <a:xfrm>
            <a:off x="468000" y="1993538"/>
            <a:ext cx="3960000" cy="2675334"/>
          </a:xfrm>
        </p:spPr>
        <p:txBody>
          <a:bodyPr vert="horz" lIns="90000" tIns="46800" rIns="90000" bIns="46800" rtlCol="0">
            <a:normAutofit/>
          </a:bodyPr>
          <a:lstStyle>
            <a:lvl1pPr>
              <a:defRPr lang="nb-NO" smtClean="0"/>
            </a:lvl1pPr>
            <a:lvl2pPr>
              <a:defRPr lang="nb-NO" sz="1100" smtClean="0"/>
            </a:lvl2pPr>
            <a:lvl3pPr>
              <a:defRPr lang="nb-NO" sz="1100" smtClean="0"/>
            </a:lvl3pPr>
            <a:lvl4pPr>
              <a:defRPr lang="nb-NO" sz="1100" smtClean="0"/>
            </a:lvl4pPr>
            <a:lvl5pPr>
              <a:defRPr lang="nb-NO" sz="1100" dirty="0"/>
            </a:lvl5pPr>
          </a:lstStyle>
          <a:p>
            <a:pPr marL="182563" lvl="0" indent="-182563"/>
            <a:r>
              <a:rPr lang="nb-NO" smtClean="0"/>
              <a:t>Klikk for å redigere tekststiler i malen</a:t>
            </a:r>
          </a:p>
          <a:p>
            <a:pPr marL="358775" lvl="1" indent="-176213"/>
            <a:r>
              <a:rPr lang="nb-NO" smtClean="0"/>
              <a:t>Andre nivå</a:t>
            </a:r>
          </a:p>
          <a:p>
            <a:pPr marL="541338" lvl="2" indent="-182563"/>
            <a:r>
              <a:rPr lang="nb-NO" smtClean="0"/>
              <a:t>Tredje nivå</a:t>
            </a:r>
          </a:p>
          <a:p>
            <a:pPr marL="715963" lvl="3" indent="-174625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nb-NO" dirty="0"/>
          </a:p>
        </p:txBody>
      </p:sp>
      <p:sp>
        <p:nvSpPr>
          <p:cNvPr id="15" name="Plassholder for innhold 2"/>
          <p:cNvSpPr>
            <a:spLocks noGrp="1"/>
          </p:cNvSpPr>
          <p:nvPr>
            <p:ph idx="11"/>
          </p:nvPr>
        </p:nvSpPr>
        <p:spPr>
          <a:xfrm>
            <a:off x="4724400" y="1993538"/>
            <a:ext cx="3960000" cy="2675334"/>
          </a:xfrm>
        </p:spPr>
        <p:txBody>
          <a:bodyPr vert="horz" lIns="90000" tIns="46800" rIns="90000" bIns="46800" rtlCol="0">
            <a:normAutofit/>
          </a:bodyPr>
          <a:lstStyle>
            <a:lvl1pPr>
              <a:defRPr lang="nb-NO" smtClean="0"/>
            </a:lvl1pPr>
            <a:lvl2pPr>
              <a:defRPr lang="nb-NO" sz="1100" smtClean="0"/>
            </a:lvl2pPr>
            <a:lvl3pPr>
              <a:defRPr lang="nb-NO" sz="1100" smtClean="0"/>
            </a:lvl3pPr>
            <a:lvl4pPr>
              <a:defRPr lang="nb-NO" sz="1100" smtClean="0"/>
            </a:lvl4pPr>
            <a:lvl5pPr>
              <a:defRPr lang="nb-NO" sz="1100" dirty="0"/>
            </a:lvl5pPr>
          </a:lstStyle>
          <a:p>
            <a:pPr marL="182563" lvl="0" indent="-182563"/>
            <a:r>
              <a:rPr lang="nb-NO" smtClean="0"/>
              <a:t>Klikk for å redigere tekststiler i malen</a:t>
            </a:r>
          </a:p>
          <a:p>
            <a:pPr marL="358775" lvl="1" indent="-176213"/>
            <a:r>
              <a:rPr lang="nb-NO" smtClean="0"/>
              <a:t>Andre nivå</a:t>
            </a:r>
          </a:p>
          <a:p>
            <a:pPr marL="541338" lvl="2" indent="-182563"/>
            <a:r>
              <a:rPr lang="nb-NO" smtClean="0"/>
              <a:t>Tredje nivå</a:t>
            </a:r>
          </a:p>
          <a:p>
            <a:pPr marL="715963" lvl="3" indent="-174625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nb-NO" dirty="0"/>
          </a:p>
        </p:txBody>
      </p:sp>
      <p:sp>
        <p:nvSpPr>
          <p:cNvPr id="8" name="Rektangel 7"/>
          <p:cNvSpPr/>
          <p:nvPr/>
        </p:nvSpPr>
        <p:spPr>
          <a:xfrm>
            <a:off x="0" y="4743900"/>
            <a:ext cx="9144000" cy="3996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nb-NO">
              <a:solidFill>
                <a:prstClr val="white"/>
              </a:solidFill>
            </a:endParaRPr>
          </a:p>
        </p:txBody>
      </p:sp>
      <p:sp>
        <p:nvSpPr>
          <p:cNvPr id="9" name="Plassholder for dato 3"/>
          <p:cNvSpPr>
            <a:spLocks noGrp="1"/>
          </p:cNvSpPr>
          <p:nvPr>
            <p:ph type="dt" sz="half" idx="2"/>
          </p:nvPr>
        </p:nvSpPr>
        <p:spPr>
          <a:xfrm>
            <a:off x="6732240" y="4993003"/>
            <a:ext cx="1080120" cy="108011"/>
          </a:xfrm>
          <a:prstGeom prst="rect">
            <a:avLst/>
          </a:prstGeom>
        </p:spPr>
        <p:txBody>
          <a:bodyPr anchor="ctr" anchorCtr="0"/>
          <a:lstStyle>
            <a:lvl1pPr>
              <a:defRPr sz="800">
                <a:solidFill>
                  <a:schemeClr val="bg1"/>
                </a:solidFill>
              </a:defRPr>
            </a:lvl1pPr>
          </a:lstStyle>
          <a:p>
            <a:r>
              <a:rPr lang="nb-NO" smtClean="0">
                <a:solidFill>
                  <a:prstClr val="white"/>
                </a:solidFill>
              </a:rPr>
              <a:t>08.06.2015</a:t>
            </a:r>
            <a:endParaRPr lang="nb-NO" dirty="0">
              <a:solidFill>
                <a:prstClr val="white"/>
              </a:solidFill>
            </a:endParaRPr>
          </a:p>
        </p:txBody>
      </p:sp>
      <p:sp>
        <p:nvSpPr>
          <p:cNvPr id="10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6732240" y="4776979"/>
            <a:ext cx="2160240" cy="162017"/>
          </a:xfrm>
          <a:prstGeom prst="rect">
            <a:avLst/>
          </a:prstGeom>
        </p:spPr>
        <p:txBody>
          <a:bodyPr anchor="ctr" anchorCtr="0"/>
          <a:lstStyle>
            <a:lvl1pPr algn="l">
              <a:defRPr sz="1000" b="1">
                <a:solidFill>
                  <a:schemeClr val="bg1"/>
                </a:solidFill>
              </a:defRPr>
            </a:lvl1pPr>
          </a:lstStyle>
          <a:p>
            <a:r>
              <a:rPr lang="nb-NO" smtClean="0">
                <a:solidFill>
                  <a:prstClr val="white"/>
                </a:solidFill>
              </a:rPr>
              <a:t>KMD</a:t>
            </a:r>
            <a:endParaRPr lang="nb-NO" dirty="0">
              <a:solidFill>
                <a:prstClr val="white"/>
              </a:solidFill>
            </a:endParaRPr>
          </a:p>
        </p:txBody>
      </p:sp>
      <p:sp>
        <p:nvSpPr>
          <p:cNvPr id="16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7884368" y="4993003"/>
            <a:ext cx="648072" cy="108011"/>
          </a:xfrm>
          <a:prstGeom prst="rect">
            <a:avLst/>
          </a:prstGeom>
        </p:spPr>
        <p:txBody>
          <a:bodyPr anchor="ctr" anchorCtr="0"/>
          <a:lstStyle>
            <a:lvl1pPr>
              <a:defRPr sz="800">
                <a:solidFill>
                  <a:schemeClr val="bg1"/>
                </a:solidFill>
              </a:defRPr>
            </a:lvl1pPr>
          </a:lstStyle>
          <a:p>
            <a:fld id="{CDA22134-EA94-4B2E-9154-EB8F13265450}" type="slidenum">
              <a:rPr lang="nb-NO" smtClean="0">
                <a:solidFill>
                  <a:prstClr val="white"/>
                </a:solidFill>
              </a:rPr>
              <a:pPr/>
              <a:t>‹#›</a:t>
            </a:fld>
            <a:endParaRPr lang="nb-NO" dirty="0">
              <a:solidFill>
                <a:prstClr val="white"/>
              </a:solidFill>
            </a:endParaRPr>
          </a:p>
        </p:txBody>
      </p:sp>
      <p:pic>
        <p:nvPicPr>
          <p:cNvPr id="11" name="Bilde 10"/>
          <p:cNvPicPr>
            <a:picLocks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6401" y="4895100"/>
            <a:ext cx="1076709" cy="145800"/>
          </a:xfrm>
          <a:prstGeom prst="rect">
            <a:avLst/>
          </a:prstGeom>
        </p:spPr>
      </p:pic>
      <p:sp>
        <p:nvSpPr>
          <p:cNvPr id="4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468000" y="1274400"/>
            <a:ext cx="3960000" cy="719138"/>
          </a:xfrm>
        </p:spPr>
        <p:txBody>
          <a:bodyPr anchor="t">
            <a:normAutofit/>
          </a:bodyPr>
          <a:lstStyle>
            <a:lvl1pPr marL="0" indent="0">
              <a:buNone/>
              <a:defRPr sz="1600" b="1"/>
            </a:lvl1pPr>
          </a:lstStyle>
          <a:p>
            <a:pPr lvl="0"/>
            <a:r>
              <a:rPr lang="nb-NO" smtClean="0"/>
              <a:t>Klikk for å redigere tekststiler i malen</a:t>
            </a:r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3"/>
          </p:nvPr>
        </p:nvSpPr>
        <p:spPr>
          <a:xfrm>
            <a:off x="4724400" y="1274400"/>
            <a:ext cx="3960000" cy="719138"/>
          </a:xfrm>
        </p:spPr>
        <p:txBody>
          <a:bodyPr anchor="t">
            <a:normAutofit/>
          </a:bodyPr>
          <a:lstStyle>
            <a:lvl1pPr marL="0" indent="0">
              <a:buNone/>
              <a:defRPr sz="1600" b="1"/>
            </a:lvl1pPr>
          </a:lstStyle>
          <a:p>
            <a:pPr lvl="0"/>
            <a:r>
              <a:rPr lang="nb-NO" smtClean="0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193567065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smtClean="0"/>
              <a:t>Klikk for å redigere tittelstil</a:t>
            </a:r>
            <a:endParaRPr lang="nb-NO"/>
          </a:p>
        </p:txBody>
      </p:sp>
      <p:sp>
        <p:nvSpPr>
          <p:cNvPr id="3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nb-NO" smtClean="0">
                <a:solidFill>
                  <a:prstClr val="black">
                    <a:tint val="75000"/>
                  </a:prstClr>
                </a:solidFill>
              </a:rPr>
              <a:t>08.06.2015</a:t>
            </a:r>
            <a:endParaRPr lang="nb-NO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FE0297D-EE43-4820-9656-7FAEDBE9345E}" type="slidenum">
              <a:rPr lang="nb-NO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nb-NO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9402903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53863" y="657291"/>
            <a:ext cx="8236286" cy="402291"/>
          </a:xfrm>
          <a:prstGeom prst="rect">
            <a:avLst/>
          </a:prstGeom>
          <a:noFill/>
          <a:ln>
            <a:noFill/>
          </a:ln>
          <a:extLst/>
        </p:spPr>
        <p:txBody>
          <a:bodyPr/>
          <a:lstStyle/>
          <a:p>
            <a:pPr lvl="0"/>
            <a:r>
              <a:rPr lang="en-US" dirty="0" smtClean="0"/>
              <a:t>Click to edit Master title style</a:t>
            </a:r>
            <a:endParaRPr lang="nb-NO" dirty="0" smtClean="0"/>
          </a:p>
        </p:txBody>
      </p:sp>
      <p:sp>
        <p:nvSpPr>
          <p:cNvPr id="13" name="Rectangle 3"/>
          <p:cNvSpPr>
            <a:spLocks noGrp="1" noChangeArrowheads="1"/>
          </p:cNvSpPr>
          <p:nvPr>
            <p:ph idx="1"/>
          </p:nvPr>
        </p:nvSpPr>
        <p:spPr bwMode="auto">
          <a:xfrm>
            <a:off x="453863" y="1113588"/>
            <a:ext cx="8236286" cy="3564396"/>
          </a:xfrm>
          <a:prstGeom prst="rect">
            <a:avLst/>
          </a:prstGeom>
          <a:noFill/>
          <a:ln>
            <a:noFill/>
          </a:ln>
          <a:extLst/>
        </p:spPr>
        <p:txBody>
          <a:bodyPr/>
          <a:lstStyle>
            <a:lvl1pPr>
              <a:defRPr sz="2400"/>
            </a:lvl1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nb-NO" dirty="0" smtClean="0"/>
          </a:p>
        </p:txBody>
      </p:sp>
      <p:sp>
        <p:nvSpPr>
          <p:cNvPr id="9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7622289" y="4860001"/>
            <a:ext cx="937846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eaLnBrk="0" hangingPunct="0">
              <a:defRPr sz="1100">
                <a:solidFill>
                  <a:schemeClr val="bg1">
                    <a:lumMod val="50000"/>
                  </a:schemeClr>
                </a:solidFill>
                <a:latin typeface="Arial" pitchFamily="34" charset="0"/>
                <a:ea typeface="MS PGothic" pitchFamily="34" charset="-128"/>
                <a:cs typeface="+mn-cs"/>
              </a:defRPr>
            </a:lvl1pPr>
          </a:lstStyle>
          <a:p>
            <a:pPr>
              <a:defRPr/>
            </a:pPr>
            <a:fld id="{F9778AA3-4962-4CB4-B0F2-625D2018A19F}" type="datetime1">
              <a:rPr lang="nb-NO" smtClean="0">
                <a:solidFill>
                  <a:srgbClr val="FFFFFF">
                    <a:lumMod val="50000"/>
                  </a:srgbClr>
                </a:solidFill>
              </a:rPr>
              <a:pPr>
                <a:defRPr/>
              </a:pPr>
              <a:t>13.09.2015</a:t>
            </a:fld>
            <a:endParaRPr lang="nb-NO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0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375559" y="4913187"/>
            <a:ext cx="2991102" cy="175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 eaLnBrk="0" hangingPunct="0">
              <a:defRPr sz="1100" b="0">
                <a:solidFill>
                  <a:schemeClr val="bg1">
                    <a:lumMod val="50000"/>
                  </a:schemeClr>
                </a:solidFill>
                <a:latin typeface="Arial" pitchFamily="34" charset="0"/>
                <a:ea typeface="MS PGothic" pitchFamily="34" charset="-128"/>
                <a:cs typeface="+mn-cs"/>
              </a:defRPr>
            </a:lvl1pPr>
          </a:lstStyle>
          <a:p>
            <a:pPr>
              <a:defRPr/>
            </a:pPr>
            <a:r>
              <a:rPr lang="nb-NO" smtClean="0">
                <a:solidFill>
                  <a:srgbClr val="FFFFFF">
                    <a:lumMod val="50000"/>
                  </a:srgbClr>
                </a:solidFill>
              </a:rPr>
              <a:t>Nye helsenorge.no og veien videre</a:t>
            </a:r>
            <a:endParaRPr lang="nb-NO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1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399611" y="4852857"/>
            <a:ext cx="559365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eaLnBrk="0" hangingPunct="0">
              <a:defRPr sz="1100" b="0">
                <a:solidFill>
                  <a:schemeClr val="bg1">
                    <a:lumMod val="50000"/>
                  </a:schemeClr>
                </a:solidFill>
                <a:latin typeface="Arial" pitchFamily="34" charset="0"/>
                <a:ea typeface="MS PGothic" pitchFamily="34" charset="-128"/>
                <a:cs typeface="+mn-cs"/>
              </a:defRPr>
            </a:lvl1pPr>
          </a:lstStyle>
          <a:p>
            <a:pPr>
              <a:defRPr/>
            </a:pPr>
            <a:fld id="{BCE41285-D9E7-410A-820B-51D80ACB53B6}" type="slidenum">
              <a:rPr lang="nb-NO" smtClean="0">
                <a:solidFill>
                  <a:srgbClr val="FFFFFF">
                    <a:lumMod val="50000"/>
                  </a:srgbClr>
                </a:solidFill>
              </a:rPr>
              <a:pPr>
                <a:defRPr/>
              </a:pPr>
              <a:t>‹#›</a:t>
            </a:fld>
            <a:endParaRPr lang="nb-NO" dirty="0">
              <a:solidFill>
                <a:srgbClr val="FFFFFF">
                  <a:lumMod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9093030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468000" y="716437"/>
            <a:ext cx="8208000" cy="402279"/>
          </a:xfrm>
        </p:spPr>
        <p:txBody>
          <a:bodyPr/>
          <a:lstStyle>
            <a:lvl1pPr>
              <a:defRPr sz="2000"/>
            </a:lvl1pPr>
          </a:lstStyle>
          <a:p>
            <a:r>
              <a:rPr lang="nb-NO" dirty="0" smtClean="0"/>
              <a:t>Klikk for å redigere tittelstil</a:t>
            </a:r>
            <a:endParaRPr lang="nb-NO" dirty="0"/>
          </a:p>
        </p:txBody>
      </p:sp>
      <p:sp>
        <p:nvSpPr>
          <p:cNvPr id="7" name="Plassholder for dato 3"/>
          <p:cNvSpPr>
            <a:spLocks noGrp="1"/>
          </p:cNvSpPr>
          <p:nvPr>
            <p:ph type="dt" sz="half" idx="2"/>
          </p:nvPr>
        </p:nvSpPr>
        <p:spPr>
          <a:xfrm>
            <a:off x="6732240" y="4993004"/>
            <a:ext cx="1080120" cy="108011"/>
          </a:xfrm>
          <a:prstGeom prst="rect">
            <a:avLst/>
          </a:prstGeom>
        </p:spPr>
        <p:txBody>
          <a:bodyPr anchor="ctr" anchorCtr="0"/>
          <a:lstStyle>
            <a:lvl1pPr>
              <a:defRPr sz="800">
                <a:solidFill>
                  <a:srgbClr val="003244"/>
                </a:solidFill>
              </a:defRPr>
            </a:lvl1pPr>
          </a:lstStyle>
          <a:p>
            <a:fld id="{8FC240A6-8C3D-4E28-B4DC-2A03216B3191}" type="datetime1">
              <a:rPr lang="nb-NO" smtClean="0"/>
              <a:t>13.09.2015</a:t>
            </a:fld>
            <a:endParaRPr lang="nb-NO" dirty="0"/>
          </a:p>
        </p:txBody>
      </p:sp>
      <p:sp>
        <p:nvSpPr>
          <p:cNvPr id="9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7884368" y="4993004"/>
            <a:ext cx="648072" cy="108011"/>
          </a:xfrm>
          <a:prstGeom prst="rect">
            <a:avLst/>
          </a:prstGeom>
        </p:spPr>
        <p:txBody>
          <a:bodyPr anchor="ctr" anchorCtr="0"/>
          <a:lstStyle>
            <a:lvl1pPr>
              <a:defRPr sz="800">
                <a:solidFill>
                  <a:srgbClr val="003244"/>
                </a:solidFill>
              </a:defRPr>
            </a:lvl1pPr>
          </a:lstStyle>
          <a:p>
            <a:fld id="{CDA22134-EA94-4B2E-9154-EB8F13265450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79220344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7622289" y="4860001"/>
            <a:ext cx="937846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eaLnBrk="0" hangingPunct="0">
              <a:defRPr sz="1100">
                <a:solidFill>
                  <a:schemeClr val="bg1">
                    <a:lumMod val="50000"/>
                  </a:schemeClr>
                </a:solidFill>
                <a:latin typeface="Arial" pitchFamily="34" charset="0"/>
                <a:ea typeface="MS PGothic" pitchFamily="34" charset="-128"/>
                <a:cs typeface="+mn-cs"/>
              </a:defRPr>
            </a:lvl1pPr>
          </a:lstStyle>
          <a:p>
            <a:pPr>
              <a:defRPr/>
            </a:pPr>
            <a:fld id="{C0F84332-915E-43CA-8B48-9048EC93E334}" type="datetime1">
              <a:rPr lang="nb-NO" smtClean="0">
                <a:solidFill>
                  <a:srgbClr val="FFFFFF">
                    <a:lumMod val="50000"/>
                  </a:srgbClr>
                </a:solidFill>
              </a:rPr>
              <a:pPr>
                <a:defRPr/>
              </a:pPr>
              <a:t>13.09.2015</a:t>
            </a:fld>
            <a:endParaRPr lang="nb-NO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375559" y="4913187"/>
            <a:ext cx="2991102" cy="175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 eaLnBrk="0" hangingPunct="0">
              <a:defRPr sz="1100" b="0">
                <a:solidFill>
                  <a:schemeClr val="bg1">
                    <a:lumMod val="50000"/>
                  </a:schemeClr>
                </a:solidFill>
                <a:latin typeface="Arial" pitchFamily="34" charset="0"/>
                <a:ea typeface="MS PGothic" pitchFamily="34" charset="-128"/>
                <a:cs typeface="+mn-cs"/>
              </a:defRPr>
            </a:lvl1pPr>
          </a:lstStyle>
          <a:p>
            <a:pPr>
              <a:defRPr/>
            </a:pPr>
            <a:r>
              <a:rPr lang="nb-NO" smtClean="0">
                <a:solidFill>
                  <a:srgbClr val="FFFFFF">
                    <a:lumMod val="50000"/>
                  </a:srgbClr>
                </a:solidFill>
              </a:rPr>
              <a:t>Nye helsenorge.no og veien videre</a:t>
            </a:r>
            <a:endParaRPr lang="nb-NO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2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399611" y="4852857"/>
            <a:ext cx="559365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eaLnBrk="0" hangingPunct="0">
              <a:defRPr sz="1100" b="0">
                <a:solidFill>
                  <a:schemeClr val="bg1">
                    <a:lumMod val="50000"/>
                  </a:schemeClr>
                </a:solidFill>
                <a:latin typeface="Arial" pitchFamily="34" charset="0"/>
                <a:ea typeface="MS PGothic" pitchFamily="34" charset="-128"/>
                <a:cs typeface="+mn-cs"/>
              </a:defRPr>
            </a:lvl1pPr>
          </a:lstStyle>
          <a:p>
            <a:pPr>
              <a:defRPr/>
            </a:pPr>
            <a:fld id="{BCE41285-D9E7-410A-820B-51D80ACB53B6}" type="slidenum">
              <a:rPr lang="nb-NO" smtClean="0">
                <a:solidFill>
                  <a:srgbClr val="FFFFFF">
                    <a:lumMod val="50000"/>
                  </a:srgbClr>
                </a:solidFill>
              </a:rPr>
              <a:pPr>
                <a:defRPr/>
              </a:pPr>
              <a:t>‹#›</a:t>
            </a:fld>
            <a:endParaRPr lang="nb-NO" dirty="0">
              <a:solidFill>
                <a:srgbClr val="FFFFFF">
                  <a:lumMod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704072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468000" y="716437"/>
            <a:ext cx="8208000" cy="402279"/>
          </a:xfrm>
        </p:spPr>
        <p:txBody>
          <a:bodyPr/>
          <a:lstStyle>
            <a:lvl1pPr>
              <a:defRPr sz="2000"/>
            </a:lvl1pPr>
          </a:lstStyle>
          <a:p>
            <a:r>
              <a:rPr lang="nb-NO" dirty="0" smtClean="0"/>
              <a:t>Klikk for å redigere tittelstil</a:t>
            </a:r>
            <a:endParaRPr lang="nb-NO" dirty="0"/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/>
        <p:txBody>
          <a:bodyPr vert="horz" lIns="89990" tIns="46794" rIns="89990" bIns="46794" rtlCol="0">
            <a:normAutofit/>
          </a:bodyPr>
          <a:lstStyle>
            <a:lvl1pPr>
              <a:defRPr lang="nb-NO" smtClean="0"/>
            </a:lvl1pPr>
            <a:lvl2pPr>
              <a:defRPr lang="nb-NO" sz="1100" smtClean="0"/>
            </a:lvl2pPr>
            <a:lvl3pPr>
              <a:defRPr lang="nb-NO" sz="1100" smtClean="0"/>
            </a:lvl3pPr>
            <a:lvl4pPr>
              <a:defRPr lang="nb-NO" sz="1100" smtClean="0"/>
            </a:lvl4pPr>
            <a:lvl5pPr>
              <a:defRPr lang="nb-NO" sz="1100"/>
            </a:lvl5pPr>
          </a:lstStyle>
          <a:p>
            <a:pPr marL="182542" lvl="0" indent="-182542"/>
            <a:r>
              <a:rPr lang="nb-NO" smtClean="0"/>
              <a:t>Klikk for å redigere tekststiler i malen</a:t>
            </a:r>
          </a:p>
          <a:p>
            <a:pPr marL="358734" lvl="1" indent="-176193"/>
            <a:r>
              <a:rPr lang="nb-NO" smtClean="0"/>
              <a:t>Andre nivå</a:t>
            </a:r>
          </a:p>
          <a:p>
            <a:pPr marL="541277" lvl="2" indent="-182542"/>
            <a:r>
              <a:rPr lang="nb-NO" smtClean="0"/>
              <a:t>Tredje nivå</a:t>
            </a:r>
          </a:p>
          <a:p>
            <a:pPr marL="715881" lvl="3" indent="-174606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nb-NO"/>
          </a:p>
        </p:txBody>
      </p:sp>
      <p:sp>
        <p:nvSpPr>
          <p:cNvPr id="7" name="Plassholder for dato 3"/>
          <p:cNvSpPr>
            <a:spLocks noGrp="1"/>
          </p:cNvSpPr>
          <p:nvPr>
            <p:ph type="dt" sz="half" idx="2"/>
          </p:nvPr>
        </p:nvSpPr>
        <p:spPr>
          <a:xfrm>
            <a:off x="6732240" y="4993004"/>
            <a:ext cx="1080120" cy="108011"/>
          </a:xfrm>
          <a:prstGeom prst="rect">
            <a:avLst/>
          </a:prstGeom>
        </p:spPr>
        <p:txBody>
          <a:bodyPr anchor="ctr" anchorCtr="0"/>
          <a:lstStyle>
            <a:lvl1pPr>
              <a:defRPr sz="800">
                <a:solidFill>
                  <a:srgbClr val="003244"/>
                </a:solidFill>
              </a:defRPr>
            </a:lvl1pPr>
          </a:lstStyle>
          <a:p>
            <a:fld id="{75160B56-DBBC-4605-9F2D-F6E980B05DA8}" type="datetime1">
              <a:rPr lang="nb-NO" smtClean="0"/>
              <a:t>13.09.2015</a:t>
            </a:fld>
            <a:endParaRPr lang="nb-NO" dirty="0"/>
          </a:p>
        </p:txBody>
      </p:sp>
      <p:sp>
        <p:nvSpPr>
          <p:cNvPr id="9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7884368" y="4993004"/>
            <a:ext cx="648072" cy="108011"/>
          </a:xfrm>
          <a:prstGeom prst="rect">
            <a:avLst/>
          </a:prstGeom>
        </p:spPr>
        <p:txBody>
          <a:bodyPr anchor="ctr" anchorCtr="0"/>
          <a:lstStyle>
            <a:lvl1pPr>
              <a:defRPr sz="800">
                <a:solidFill>
                  <a:srgbClr val="003244"/>
                </a:solidFill>
              </a:defRPr>
            </a:lvl1pPr>
          </a:lstStyle>
          <a:p>
            <a:fld id="{CDA22134-EA94-4B2E-9154-EB8F13265450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412227409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468000" y="716437"/>
            <a:ext cx="8208000" cy="402279"/>
          </a:xfrm>
        </p:spPr>
        <p:txBody>
          <a:bodyPr/>
          <a:lstStyle>
            <a:lvl1pPr>
              <a:defRPr sz="2000"/>
            </a:lvl1pPr>
          </a:lstStyle>
          <a:p>
            <a:r>
              <a:rPr lang="nb-NO" smtClean="0"/>
              <a:t>Klikk for å redigere tittelstil</a:t>
            </a:r>
            <a:endParaRPr lang="nb-NO"/>
          </a:p>
        </p:txBody>
      </p:sp>
      <p:sp>
        <p:nvSpPr>
          <p:cNvPr id="11" name="Plassholder for dato 3"/>
          <p:cNvSpPr>
            <a:spLocks noGrp="1"/>
          </p:cNvSpPr>
          <p:nvPr>
            <p:ph type="dt" sz="half" idx="10"/>
          </p:nvPr>
        </p:nvSpPr>
        <p:spPr>
          <a:xfrm>
            <a:off x="6732240" y="4993004"/>
            <a:ext cx="1080120" cy="108011"/>
          </a:xfrm>
          <a:prstGeom prst="rect">
            <a:avLst/>
          </a:prstGeom>
        </p:spPr>
        <p:txBody>
          <a:bodyPr anchor="ctr" anchorCtr="0"/>
          <a:lstStyle>
            <a:lvl1pPr>
              <a:defRPr sz="800">
                <a:solidFill>
                  <a:srgbClr val="003244"/>
                </a:solidFill>
              </a:defRPr>
            </a:lvl1pPr>
          </a:lstStyle>
          <a:p>
            <a:fld id="{7748A81E-9FFD-4587-89C5-B9D4851D36F0}" type="datetime1">
              <a:rPr lang="nb-NO" smtClean="0"/>
              <a:t>13.09.2015</a:t>
            </a:fld>
            <a:endParaRPr lang="nb-NO" dirty="0"/>
          </a:p>
        </p:txBody>
      </p:sp>
      <p:sp>
        <p:nvSpPr>
          <p:cNvPr id="13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7884368" y="4993004"/>
            <a:ext cx="648072" cy="108011"/>
          </a:xfrm>
          <a:prstGeom prst="rect">
            <a:avLst/>
          </a:prstGeom>
        </p:spPr>
        <p:txBody>
          <a:bodyPr anchor="ctr" anchorCtr="0"/>
          <a:lstStyle>
            <a:lvl1pPr>
              <a:defRPr sz="800">
                <a:solidFill>
                  <a:srgbClr val="003244"/>
                </a:solidFill>
              </a:defRPr>
            </a:lvl1pPr>
          </a:lstStyle>
          <a:p>
            <a:fld id="{CDA22134-EA94-4B2E-9154-EB8F13265450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14" name="Plassholder for innhold 2"/>
          <p:cNvSpPr>
            <a:spLocks noGrp="1"/>
          </p:cNvSpPr>
          <p:nvPr>
            <p:ph idx="1"/>
          </p:nvPr>
        </p:nvSpPr>
        <p:spPr>
          <a:xfrm>
            <a:off x="468000" y="1274401"/>
            <a:ext cx="3960000" cy="3394472"/>
          </a:xfrm>
        </p:spPr>
        <p:txBody>
          <a:bodyPr vert="horz" lIns="89990" tIns="46794" rIns="89990" bIns="46794" rtlCol="0">
            <a:normAutofit/>
          </a:bodyPr>
          <a:lstStyle>
            <a:lvl1pPr>
              <a:defRPr lang="nb-NO" dirty="0" smtClean="0"/>
            </a:lvl1pPr>
            <a:lvl2pPr>
              <a:defRPr lang="nb-NO" sz="1100" dirty="0" smtClean="0"/>
            </a:lvl2pPr>
            <a:lvl3pPr>
              <a:defRPr lang="nb-NO" sz="1100" dirty="0" smtClean="0"/>
            </a:lvl3pPr>
            <a:lvl4pPr>
              <a:defRPr lang="nb-NO" sz="1100" dirty="0" smtClean="0"/>
            </a:lvl4pPr>
            <a:lvl5pPr>
              <a:defRPr lang="nb-NO" sz="1100" dirty="0"/>
            </a:lvl5pPr>
          </a:lstStyle>
          <a:p>
            <a:pPr marL="182542" lvl="0" indent="-182542"/>
            <a:r>
              <a:rPr lang="nb-NO" dirty="0" smtClean="0"/>
              <a:t>Klikk for å redigere tekststiler i malen</a:t>
            </a:r>
          </a:p>
          <a:p>
            <a:pPr marL="358734" lvl="1" indent="-176193"/>
            <a:r>
              <a:rPr lang="nb-NO" dirty="0" smtClean="0"/>
              <a:t>Andre nivå</a:t>
            </a:r>
          </a:p>
          <a:p>
            <a:pPr marL="541277" lvl="2" indent="-182542"/>
            <a:r>
              <a:rPr lang="nb-NO" dirty="0" smtClean="0"/>
              <a:t>Tredje nivå</a:t>
            </a:r>
          </a:p>
          <a:p>
            <a:pPr marL="715881" lvl="3" indent="-174606"/>
            <a:r>
              <a:rPr lang="nb-NO" dirty="0" smtClean="0"/>
              <a:t>Fjerde nivå</a:t>
            </a:r>
          </a:p>
          <a:p>
            <a:pPr lvl="4"/>
            <a:r>
              <a:rPr lang="nb-NO" dirty="0" smtClean="0"/>
              <a:t>Femte nivå</a:t>
            </a:r>
            <a:endParaRPr lang="nb-NO" dirty="0"/>
          </a:p>
        </p:txBody>
      </p:sp>
      <p:sp>
        <p:nvSpPr>
          <p:cNvPr id="15" name="Plassholder for innhold 2"/>
          <p:cNvSpPr>
            <a:spLocks noGrp="1"/>
          </p:cNvSpPr>
          <p:nvPr>
            <p:ph idx="11"/>
          </p:nvPr>
        </p:nvSpPr>
        <p:spPr>
          <a:xfrm>
            <a:off x="4724400" y="1274401"/>
            <a:ext cx="3960000" cy="3394472"/>
          </a:xfrm>
        </p:spPr>
        <p:txBody>
          <a:bodyPr vert="horz" lIns="89990" tIns="46794" rIns="89990" bIns="46794" rtlCol="0">
            <a:normAutofit/>
          </a:bodyPr>
          <a:lstStyle>
            <a:lvl1pPr>
              <a:defRPr lang="nb-NO" dirty="0" smtClean="0"/>
            </a:lvl1pPr>
            <a:lvl2pPr>
              <a:defRPr lang="nb-NO" sz="1100" dirty="0" smtClean="0"/>
            </a:lvl2pPr>
            <a:lvl3pPr>
              <a:defRPr lang="nb-NO" sz="1100" dirty="0" smtClean="0"/>
            </a:lvl3pPr>
            <a:lvl4pPr>
              <a:defRPr lang="nb-NO" sz="1100" dirty="0" smtClean="0"/>
            </a:lvl4pPr>
            <a:lvl5pPr>
              <a:defRPr lang="nb-NO" sz="1100" dirty="0"/>
            </a:lvl5pPr>
          </a:lstStyle>
          <a:p>
            <a:pPr marL="182542" lvl="0" indent="-182542"/>
            <a:r>
              <a:rPr lang="nb-NO" dirty="0" smtClean="0"/>
              <a:t>Klikk for å redigere tekststiler i malen</a:t>
            </a:r>
          </a:p>
          <a:p>
            <a:pPr marL="358734" lvl="1" indent="-176193"/>
            <a:r>
              <a:rPr lang="nb-NO" dirty="0" smtClean="0"/>
              <a:t>Andre nivå</a:t>
            </a:r>
          </a:p>
          <a:p>
            <a:pPr marL="541277" lvl="2" indent="-182542"/>
            <a:r>
              <a:rPr lang="nb-NO" dirty="0" smtClean="0"/>
              <a:t>Tredje nivå</a:t>
            </a:r>
          </a:p>
          <a:p>
            <a:pPr marL="715881" lvl="3" indent="-174606"/>
            <a:r>
              <a:rPr lang="nb-NO" dirty="0" smtClean="0"/>
              <a:t>Fjerde nivå</a:t>
            </a:r>
          </a:p>
          <a:p>
            <a:pPr lvl="4"/>
            <a:r>
              <a:rPr lang="nb-NO" dirty="0" smtClean="0"/>
              <a:t>Femte nivå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24539050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468000" y="716437"/>
            <a:ext cx="8208000" cy="402279"/>
          </a:xfrm>
        </p:spPr>
        <p:txBody>
          <a:bodyPr/>
          <a:lstStyle>
            <a:lvl1pPr>
              <a:defRPr sz="2000"/>
            </a:lvl1pPr>
          </a:lstStyle>
          <a:p>
            <a:r>
              <a:rPr lang="nb-NO" smtClean="0"/>
              <a:t>Klikk for å redigere tittelstil</a:t>
            </a:r>
            <a:endParaRPr lang="nb-NO"/>
          </a:p>
        </p:txBody>
      </p:sp>
      <p:sp>
        <p:nvSpPr>
          <p:cNvPr id="11" name="Plassholder for dato 3"/>
          <p:cNvSpPr>
            <a:spLocks noGrp="1"/>
          </p:cNvSpPr>
          <p:nvPr>
            <p:ph type="dt" sz="half" idx="10"/>
          </p:nvPr>
        </p:nvSpPr>
        <p:spPr>
          <a:xfrm>
            <a:off x="6732240" y="4993004"/>
            <a:ext cx="1080120" cy="108011"/>
          </a:xfrm>
          <a:prstGeom prst="rect">
            <a:avLst/>
          </a:prstGeom>
        </p:spPr>
        <p:txBody>
          <a:bodyPr anchor="ctr" anchorCtr="0"/>
          <a:lstStyle>
            <a:lvl1pPr>
              <a:defRPr sz="800">
                <a:solidFill>
                  <a:srgbClr val="003244"/>
                </a:solidFill>
              </a:defRPr>
            </a:lvl1pPr>
          </a:lstStyle>
          <a:p>
            <a:fld id="{E4694254-6A8C-4FEB-A24E-5672188EF0B0}" type="datetime1">
              <a:rPr lang="nb-NO" smtClean="0"/>
              <a:t>13.09.2015</a:t>
            </a:fld>
            <a:endParaRPr lang="nb-NO" dirty="0"/>
          </a:p>
        </p:txBody>
      </p:sp>
      <p:sp>
        <p:nvSpPr>
          <p:cNvPr id="13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7884368" y="4993004"/>
            <a:ext cx="648072" cy="108011"/>
          </a:xfrm>
          <a:prstGeom prst="rect">
            <a:avLst/>
          </a:prstGeom>
        </p:spPr>
        <p:txBody>
          <a:bodyPr anchor="ctr" anchorCtr="0"/>
          <a:lstStyle>
            <a:lvl1pPr>
              <a:defRPr sz="800">
                <a:solidFill>
                  <a:srgbClr val="003244"/>
                </a:solidFill>
              </a:defRPr>
            </a:lvl1pPr>
          </a:lstStyle>
          <a:p>
            <a:fld id="{CDA22134-EA94-4B2E-9154-EB8F13265450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14" name="Plassholder for innhold 2"/>
          <p:cNvSpPr>
            <a:spLocks noGrp="1"/>
          </p:cNvSpPr>
          <p:nvPr>
            <p:ph idx="1"/>
          </p:nvPr>
        </p:nvSpPr>
        <p:spPr>
          <a:xfrm>
            <a:off x="468001" y="1274401"/>
            <a:ext cx="2663840" cy="3394472"/>
          </a:xfrm>
        </p:spPr>
        <p:txBody>
          <a:bodyPr vert="horz" lIns="89990" tIns="46794" rIns="89990" bIns="46794" rtlCol="0">
            <a:normAutofit/>
          </a:bodyPr>
          <a:lstStyle>
            <a:lvl1pPr marL="0" indent="0">
              <a:buNone/>
              <a:defRPr lang="nb-NO" sz="1100" b="1" dirty="0" smtClean="0"/>
            </a:lvl1pPr>
            <a:lvl2pPr marL="358734" indent="-358734">
              <a:buFont typeface="Arial" panose="020B0604020202020204" pitchFamily="34" charset="0"/>
              <a:buChar char="•"/>
              <a:defRPr lang="nb-NO" sz="1000" dirty="0" smtClean="0"/>
            </a:lvl2pPr>
            <a:lvl3pPr>
              <a:defRPr lang="nb-NO" sz="1000" dirty="0" smtClean="0"/>
            </a:lvl3pPr>
            <a:lvl4pPr>
              <a:defRPr lang="nb-NO" sz="1000" dirty="0" smtClean="0"/>
            </a:lvl4pPr>
            <a:lvl5pPr>
              <a:defRPr lang="nb-NO" sz="1100" dirty="0"/>
            </a:lvl5pPr>
          </a:lstStyle>
          <a:p>
            <a:pPr marL="182542" lvl="0" indent="-182542"/>
            <a:r>
              <a:rPr lang="nb-NO" dirty="0" smtClean="0"/>
              <a:t>Klikk for å redigere tekststiler i malen</a:t>
            </a:r>
          </a:p>
          <a:p>
            <a:pPr marL="358734" lvl="1" indent="-176193"/>
            <a:r>
              <a:rPr lang="nb-NO" dirty="0" smtClean="0"/>
              <a:t>Andre nivå</a:t>
            </a:r>
          </a:p>
          <a:p>
            <a:pPr marL="541277" lvl="2" indent="-182542"/>
            <a:r>
              <a:rPr lang="nb-NO" dirty="0" smtClean="0"/>
              <a:t>Tredje nivå</a:t>
            </a:r>
          </a:p>
          <a:p>
            <a:pPr marL="715881" lvl="3" indent="-174606"/>
            <a:r>
              <a:rPr lang="nb-NO" dirty="0" smtClean="0"/>
              <a:t>Fjerde nivå</a:t>
            </a:r>
          </a:p>
          <a:p>
            <a:pPr lvl="2"/>
            <a:r>
              <a:rPr lang="nb-NO" dirty="0" smtClean="0"/>
              <a:t>Femte nivå</a:t>
            </a:r>
            <a:endParaRPr lang="nb-NO" dirty="0"/>
          </a:p>
        </p:txBody>
      </p:sp>
      <p:sp>
        <p:nvSpPr>
          <p:cNvPr id="8" name="Plassholder for innhold 2"/>
          <p:cNvSpPr>
            <a:spLocks noGrp="1"/>
          </p:cNvSpPr>
          <p:nvPr>
            <p:ph idx="11"/>
          </p:nvPr>
        </p:nvSpPr>
        <p:spPr>
          <a:xfrm>
            <a:off x="3229275" y="1274401"/>
            <a:ext cx="2663840" cy="3394472"/>
          </a:xfrm>
        </p:spPr>
        <p:txBody>
          <a:bodyPr vert="horz" lIns="89990" tIns="46794" rIns="89990" bIns="46794" rtlCol="0">
            <a:normAutofit/>
          </a:bodyPr>
          <a:lstStyle>
            <a:lvl1pPr marL="0" indent="0">
              <a:buNone/>
              <a:defRPr lang="nb-NO" sz="1100" b="1" dirty="0" smtClean="0"/>
            </a:lvl1pPr>
            <a:lvl2pPr>
              <a:defRPr lang="nb-NO" sz="1000" dirty="0" smtClean="0"/>
            </a:lvl2pPr>
            <a:lvl3pPr>
              <a:defRPr lang="nb-NO" sz="1000" dirty="0" smtClean="0"/>
            </a:lvl3pPr>
            <a:lvl4pPr>
              <a:defRPr lang="nb-NO" sz="1000" dirty="0" smtClean="0"/>
            </a:lvl4pPr>
            <a:lvl5pPr>
              <a:defRPr lang="nb-NO" sz="1100" dirty="0"/>
            </a:lvl5pPr>
          </a:lstStyle>
          <a:p>
            <a:pPr marL="182542" lvl="0" indent="-182542"/>
            <a:r>
              <a:rPr lang="nb-NO" dirty="0" smtClean="0"/>
              <a:t>Klikk for å redigere tekststiler i malen</a:t>
            </a:r>
          </a:p>
          <a:p>
            <a:pPr marL="358734" lvl="1" indent="-176193"/>
            <a:r>
              <a:rPr lang="nb-NO" dirty="0" smtClean="0"/>
              <a:t>Andre nivå</a:t>
            </a:r>
          </a:p>
          <a:p>
            <a:pPr marL="541277" lvl="2" indent="-182542"/>
            <a:r>
              <a:rPr lang="nb-NO" dirty="0" smtClean="0"/>
              <a:t>Tredje nivå</a:t>
            </a:r>
          </a:p>
          <a:p>
            <a:pPr marL="715881" lvl="3" indent="-174606"/>
            <a:r>
              <a:rPr lang="nb-NO" dirty="0" smtClean="0"/>
              <a:t>Fjerde nivå</a:t>
            </a:r>
          </a:p>
          <a:p>
            <a:pPr lvl="2"/>
            <a:r>
              <a:rPr lang="nb-NO" dirty="0" smtClean="0"/>
              <a:t>Femte nivå</a:t>
            </a:r>
            <a:endParaRPr lang="nb-NO" dirty="0"/>
          </a:p>
        </p:txBody>
      </p:sp>
      <p:sp>
        <p:nvSpPr>
          <p:cNvPr id="9" name="Plassholder for innhold 2"/>
          <p:cNvSpPr>
            <a:spLocks noGrp="1"/>
          </p:cNvSpPr>
          <p:nvPr>
            <p:ph idx="12"/>
          </p:nvPr>
        </p:nvSpPr>
        <p:spPr>
          <a:xfrm>
            <a:off x="5990550" y="1274401"/>
            <a:ext cx="2663840" cy="3394472"/>
          </a:xfrm>
        </p:spPr>
        <p:txBody>
          <a:bodyPr vert="horz" lIns="89990" tIns="46794" rIns="89990" bIns="46794" rtlCol="0">
            <a:normAutofit/>
          </a:bodyPr>
          <a:lstStyle>
            <a:lvl1pPr marL="0" indent="0">
              <a:buNone/>
              <a:defRPr lang="nb-NO" sz="1100" b="1" dirty="0" smtClean="0"/>
            </a:lvl1pPr>
            <a:lvl2pPr>
              <a:defRPr lang="nb-NO" sz="1000" dirty="0" smtClean="0"/>
            </a:lvl2pPr>
            <a:lvl3pPr>
              <a:defRPr lang="nb-NO" sz="1000" dirty="0" smtClean="0"/>
            </a:lvl3pPr>
            <a:lvl4pPr>
              <a:defRPr lang="nb-NO" sz="1000" dirty="0" smtClean="0"/>
            </a:lvl4pPr>
            <a:lvl5pPr>
              <a:defRPr lang="nb-NO" sz="1100" dirty="0"/>
            </a:lvl5pPr>
          </a:lstStyle>
          <a:p>
            <a:pPr marL="182542" lvl="0" indent="-182542"/>
            <a:r>
              <a:rPr lang="nb-NO" dirty="0" smtClean="0"/>
              <a:t>Klikk for å redigere tekststiler i malen</a:t>
            </a:r>
          </a:p>
          <a:p>
            <a:pPr marL="358734" lvl="1" indent="-176193"/>
            <a:r>
              <a:rPr lang="nb-NO" dirty="0" smtClean="0"/>
              <a:t>Andre nivå</a:t>
            </a:r>
          </a:p>
          <a:p>
            <a:pPr marL="541277" lvl="2" indent="-182542"/>
            <a:r>
              <a:rPr lang="nb-NO" dirty="0" smtClean="0"/>
              <a:t>Tredje nivå</a:t>
            </a:r>
          </a:p>
          <a:p>
            <a:pPr marL="715881" lvl="3" indent="-174606"/>
            <a:r>
              <a:rPr lang="nb-NO" dirty="0" smtClean="0"/>
              <a:t>Fjerde nivå</a:t>
            </a:r>
          </a:p>
          <a:p>
            <a:pPr lvl="2"/>
            <a:r>
              <a:rPr lang="nb-NO" dirty="0" smtClean="0"/>
              <a:t>Femte nivå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82360325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ire innholdsde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468000" y="654881"/>
            <a:ext cx="8208000" cy="463834"/>
          </a:xfrm>
        </p:spPr>
        <p:txBody>
          <a:bodyPr vert="horz" lIns="89990" tIns="46794" rIns="89990" bIns="46794" rtlCol="0" anchor="b" anchorCtr="0">
            <a:spAutoFit/>
          </a:bodyPr>
          <a:lstStyle>
            <a:lvl1pPr>
              <a:defRPr lang="nb-NO" sz="2400"/>
            </a:lvl1pPr>
          </a:lstStyle>
          <a:p>
            <a:pPr lvl="0"/>
            <a:r>
              <a:rPr lang="nb-NO" dirty="0" smtClean="0"/>
              <a:t>Klikk for å redigere tittelstil</a:t>
            </a:r>
            <a:endParaRPr lang="nb-NO" dirty="0"/>
          </a:p>
        </p:txBody>
      </p:sp>
      <p:sp>
        <p:nvSpPr>
          <p:cNvPr id="14" name="Plassholder for innhold 2"/>
          <p:cNvSpPr>
            <a:spLocks noGrp="1"/>
          </p:cNvSpPr>
          <p:nvPr>
            <p:ph idx="1"/>
          </p:nvPr>
        </p:nvSpPr>
        <p:spPr>
          <a:xfrm>
            <a:off x="468000" y="1274400"/>
            <a:ext cx="3960000" cy="1620000"/>
          </a:xfrm>
        </p:spPr>
        <p:txBody>
          <a:bodyPr vert="horz" lIns="89990" tIns="46794" rIns="89990" bIns="46794" rtlCol="0">
            <a:normAutofit/>
          </a:bodyPr>
          <a:lstStyle>
            <a:lvl1pPr>
              <a:defRPr lang="nb-NO" dirty="0" smtClean="0"/>
            </a:lvl1pPr>
            <a:lvl2pPr>
              <a:defRPr lang="nb-NO" sz="1100" dirty="0" smtClean="0"/>
            </a:lvl2pPr>
            <a:lvl3pPr>
              <a:defRPr lang="nb-NO" sz="1100" dirty="0" smtClean="0"/>
            </a:lvl3pPr>
            <a:lvl4pPr>
              <a:defRPr lang="nb-NO" sz="1100" dirty="0" smtClean="0"/>
            </a:lvl4pPr>
            <a:lvl5pPr>
              <a:defRPr lang="nb-NO" sz="1100" dirty="0"/>
            </a:lvl5pPr>
          </a:lstStyle>
          <a:p>
            <a:pPr marL="182542" lvl="0" indent="-182542"/>
            <a:r>
              <a:rPr lang="nb-NO" dirty="0" smtClean="0"/>
              <a:t>Klikk for å redigere tekststiler i malen</a:t>
            </a:r>
          </a:p>
          <a:p>
            <a:pPr marL="358734" lvl="1" indent="-176193"/>
            <a:r>
              <a:rPr lang="nb-NO" dirty="0" smtClean="0"/>
              <a:t>Andre nivå</a:t>
            </a:r>
          </a:p>
          <a:p>
            <a:pPr marL="541277" lvl="2" indent="-182542"/>
            <a:r>
              <a:rPr lang="nb-NO" dirty="0" smtClean="0"/>
              <a:t>Tredje nivå</a:t>
            </a:r>
          </a:p>
          <a:p>
            <a:pPr marL="715881" lvl="3" indent="-174606"/>
            <a:r>
              <a:rPr lang="nb-NO" dirty="0" smtClean="0"/>
              <a:t>Fjerde nivå</a:t>
            </a:r>
          </a:p>
          <a:p>
            <a:pPr lvl="4"/>
            <a:r>
              <a:rPr lang="nb-NO" dirty="0" smtClean="0"/>
              <a:t>Femte nivå</a:t>
            </a:r>
            <a:endParaRPr lang="nb-NO" dirty="0"/>
          </a:p>
        </p:txBody>
      </p:sp>
      <p:sp>
        <p:nvSpPr>
          <p:cNvPr id="15" name="Plassholder for innhold 2"/>
          <p:cNvSpPr>
            <a:spLocks noGrp="1"/>
          </p:cNvSpPr>
          <p:nvPr>
            <p:ph idx="11"/>
          </p:nvPr>
        </p:nvSpPr>
        <p:spPr>
          <a:xfrm>
            <a:off x="4724400" y="1274400"/>
            <a:ext cx="3960000" cy="1620000"/>
          </a:xfrm>
        </p:spPr>
        <p:txBody>
          <a:bodyPr vert="horz" lIns="89990" tIns="46794" rIns="89990" bIns="46794" rtlCol="0">
            <a:normAutofit/>
          </a:bodyPr>
          <a:lstStyle>
            <a:lvl1pPr>
              <a:defRPr lang="nb-NO" smtClean="0"/>
            </a:lvl1pPr>
            <a:lvl2pPr>
              <a:defRPr lang="nb-NO" sz="1100" smtClean="0"/>
            </a:lvl2pPr>
            <a:lvl3pPr>
              <a:defRPr lang="nb-NO" sz="1100" smtClean="0"/>
            </a:lvl3pPr>
            <a:lvl4pPr>
              <a:defRPr lang="nb-NO" sz="1100" smtClean="0"/>
            </a:lvl4pPr>
            <a:lvl5pPr>
              <a:defRPr lang="nb-NO" sz="1100"/>
            </a:lvl5pPr>
          </a:lstStyle>
          <a:p>
            <a:pPr marL="182542" lvl="0" indent="-182542"/>
            <a:r>
              <a:rPr lang="nb-NO" smtClean="0"/>
              <a:t>Klikk for å redigere tekststiler i malen</a:t>
            </a:r>
          </a:p>
          <a:p>
            <a:pPr marL="358734" lvl="1" indent="-176193"/>
            <a:r>
              <a:rPr lang="nb-NO" smtClean="0"/>
              <a:t>Andre nivå</a:t>
            </a:r>
          </a:p>
          <a:p>
            <a:pPr marL="541277" lvl="2" indent="-182542"/>
            <a:r>
              <a:rPr lang="nb-NO" smtClean="0"/>
              <a:t>Tredje nivå</a:t>
            </a:r>
          </a:p>
          <a:p>
            <a:pPr marL="715881" lvl="3" indent="-174606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nb-NO"/>
          </a:p>
        </p:txBody>
      </p:sp>
      <p:sp>
        <p:nvSpPr>
          <p:cNvPr id="12" name="Plassholder for innhold 2"/>
          <p:cNvSpPr>
            <a:spLocks noGrp="1"/>
          </p:cNvSpPr>
          <p:nvPr>
            <p:ph idx="12"/>
          </p:nvPr>
        </p:nvSpPr>
        <p:spPr>
          <a:xfrm>
            <a:off x="468000" y="3047231"/>
            <a:ext cx="3960000" cy="1620000"/>
          </a:xfrm>
        </p:spPr>
        <p:txBody>
          <a:bodyPr vert="horz" lIns="89990" tIns="46794" rIns="89990" bIns="46794" rtlCol="0">
            <a:normAutofit/>
          </a:bodyPr>
          <a:lstStyle>
            <a:lvl1pPr>
              <a:defRPr lang="nb-NO" smtClean="0"/>
            </a:lvl1pPr>
            <a:lvl2pPr>
              <a:defRPr lang="nb-NO" sz="1100" smtClean="0"/>
            </a:lvl2pPr>
            <a:lvl3pPr>
              <a:defRPr lang="nb-NO" sz="1100" smtClean="0"/>
            </a:lvl3pPr>
            <a:lvl4pPr>
              <a:defRPr lang="nb-NO" sz="1100" smtClean="0"/>
            </a:lvl4pPr>
            <a:lvl5pPr>
              <a:defRPr lang="nb-NO" sz="1100" dirty="0"/>
            </a:lvl5pPr>
          </a:lstStyle>
          <a:p>
            <a:pPr marL="182542" lvl="0" indent="-182542"/>
            <a:r>
              <a:rPr lang="nb-NO" smtClean="0"/>
              <a:t>Klikk for å redigere tekststiler i malen</a:t>
            </a:r>
          </a:p>
          <a:p>
            <a:pPr marL="358734" lvl="1" indent="-176193"/>
            <a:r>
              <a:rPr lang="nb-NO" smtClean="0"/>
              <a:t>Andre nivå</a:t>
            </a:r>
          </a:p>
          <a:p>
            <a:pPr marL="541277" lvl="2" indent="-182542"/>
            <a:r>
              <a:rPr lang="nb-NO" smtClean="0"/>
              <a:t>Tredje nivå</a:t>
            </a:r>
          </a:p>
          <a:p>
            <a:pPr marL="715881" lvl="3" indent="-174606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nb-NO" dirty="0"/>
          </a:p>
        </p:txBody>
      </p:sp>
      <p:sp>
        <p:nvSpPr>
          <p:cNvPr id="13" name="Plassholder for innhold 2"/>
          <p:cNvSpPr>
            <a:spLocks noGrp="1"/>
          </p:cNvSpPr>
          <p:nvPr>
            <p:ph idx="13"/>
          </p:nvPr>
        </p:nvSpPr>
        <p:spPr>
          <a:xfrm>
            <a:off x="4724400" y="3047231"/>
            <a:ext cx="3960000" cy="1620000"/>
          </a:xfrm>
        </p:spPr>
        <p:txBody>
          <a:bodyPr vert="horz" lIns="89990" tIns="46794" rIns="89990" bIns="46794" rtlCol="0">
            <a:normAutofit/>
          </a:bodyPr>
          <a:lstStyle>
            <a:lvl1pPr>
              <a:defRPr lang="nb-NO" smtClean="0"/>
            </a:lvl1pPr>
            <a:lvl2pPr>
              <a:defRPr lang="nb-NO" sz="1100" smtClean="0"/>
            </a:lvl2pPr>
            <a:lvl3pPr>
              <a:defRPr lang="nb-NO" sz="1100" smtClean="0"/>
            </a:lvl3pPr>
            <a:lvl4pPr>
              <a:defRPr lang="nb-NO" sz="1100" smtClean="0"/>
            </a:lvl4pPr>
            <a:lvl5pPr>
              <a:defRPr lang="nb-NO" sz="1100"/>
            </a:lvl5pPr>
          </a:lstStyle>
          <a:p>
            <a:pPr marL="182542" lvl="0" indent="-182542"/>
            <a:r>
              <a:rPr lang="nb-NO" smtClean="0"/>
              <a:t>Klikk for å redigere tekststiler i malen</a:t>
            </a:r>
          </a:p>
          <a:p>
            <a:pPr marL="358734" lvl="1" indent="-176193"/>
            <a:r>
              <a:rPr lang="nb-NO" smtClean="0"/>
              <a:t>Andre nivå</a:t>
            </a:r>
          </a:p>
          <a:p>
            <a:pPr marL="541277" lvl="2" indent="-182542"/>
            <a:r>
              <a:rPr lang="nb-NO" smtClean="0"/>
              <a:t>Tredje nivå</a:t>
            </a:r>
          </a:p>
          <a:p>
            <a:pPr marL="715881" lvl="3" indent="-174606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nb-NO"/>
          </a:p>
        </p:txBody>
      </p:sp>
      <p:sp>
        <p:nvSpPr>
          <p:cNvPr id="11" name="Plassholder for dato 3"/>
          <p:cNvSpPr>
            <a:spLocks noGrp="1"/>
          </p:cNvSpPr>
          <p:nvPr>
            <p:ph type="dt" sz="half" idx="2"/>
          </p:nvPr>
        </p:nvSpPr>
        <p:spPr>
          <a:xfrm>
            <a:off x="6732240" y="4993004"/>
            <a:ext cx="1080120" cy="108011"/>
          </a:xfrm>
          <a:prstGeom prst="rect">
            <a:avLst/>
          </a:prstGeom>
        </p:spPr>
        <p:txBody>
          <a:bodyPr anchor="ctr" anchorCtr="0"/>
          <a:lstStyle>
            <a:lvl1pPr>
              <a:defRPr sz="800">
                <a:solidFill>
                  <a:srgbClr val="003244"/>
                </a:solidFill>
              </a:defRPr>
            </a:lvl1pPr>
          </a:lstStyle>
          <a:p>
            <a:fld id="{CF6FA8CD-8BBC-475E-8690-3FF270F90EE4}" type="datetime1">
              <a:rPr lang="nb-NO" smtClean="0"/>
              <a:t>13.09.2015</a:t>
            </a:fld>
            <a:endParaRPr lang="nb-NO" dirty="0"/>
          </a:p>
        </p:txBody>
      </p:sp>
      <p:sp>
        <p:nvSpPr>
          <p:cNvPr id="18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7884368" y="4993004"/>
            <a:ext cx="648072" cy="108011"/>
          </a:xfrm>
          <a:prstGeom prst="rect">
            <a:avLst/>
          </a:prstGeom>
        </p:spPr>
        <p:txBody>
          <a:bodyPr anchor="ctr" anchorCtr="0"/>
          <a:lstStyle>
            <a:lvl1pPr>
              <a:defRPr sz="800">
                <a:solidFill>
                  <a:srgbClr val="003244"/>
                </a:solidFill>
              </a:defRPr>
            </a:lvl1pPr>
          </a:lstStyle>
          <a:p>
            <a:fld id="{CDA22134-EA94-4B2E-9154-EB8F13265450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49577942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468000" y="654881"/>
            <a:ext cx="8208000" cy="463834"/>
          </a:xfrm>
        </p:spPr>
        <p:txBody>
          <a:bodyPr vert="horz" lIns="89990" tIns="46794" rIns="89990" bIns="46794" rtlCol="0" anchor="b" anchorCtr="0">
            <a:spAutoFit/>
          </a:bodyPr>
          <a:lstStyle>
            <a:lvl1pPr>
              <a:defRPr lang="nb-NO" sz="2400"/>
            </a:lvl1pPr>
          </a:lstStyle>
          <a:p>
            <a:pPr lvl="0"/>
            <a:r>
              <a:rPr lang="nb-NO" dirty="0" smtClean="0"/>
              <a:t>Klikk for å redigere tittelstil</a:t>
            </a:r>
            <a:endParaRPr lang="nb-NO" dirty="0"/>
          </a:p>
        </p:txBody>
      </p:sp>
      <p:sp>
        <p:nvSpPr>
          <p:cNvPr id="14" name="Plassholder for innhold 2"/>
          <p:cNvSpPr>
            <a:spLocks noGrp="1"/>
          </p:cNvSpPr>
          <p:nvPr>
            <p:ph idx="1"/>
          </p:nvPr>
        </p:nvSpPr>
        <p:spPr>
          <a:xfrm>
            <a:off x="468000" y="1993538"/>
            <a:ext cx="3960000" cy="2675334"/>
          </a:xfrm>
        </p:spPr>
        <p:txBody>
          <a:bodyPr>
            <a:normAutofit/>
          </a:bodyPr>
          <a:lstStyle>
            <a:lvl1pPr marL="182542" indent="-182542">
              <a:defRPr sz="1200"/>
            </a:lvl1pPr>
            <a:lvl2pPr marL="358734" indent="-176193">
              <a:defRPr sz="1100"/>
            </a:lvl2pPr>
            <a:lvl3pPr marL="541277" indent="-182542">
              <a:defRPr sz="1100"/>
            </a:lvl3pPr>
            <a:lvl4pPr marL="715881" indent="-174606">
              <a:defRPr sz="1100"/>
            </a:lvl4pPr>
            <a:lvl5pPr>
              <a:defRPr sz="1100"/>
            </a:lvl5pPr>
          </a:lstStyle>
          <a:p>
            <a:pPr lvl="0"/>
            <a:r>
              <a:rPr lang="nb-NO" dirty="0" smtClean="0"/>
              <a:t>Klikk for å redigere tekststiler i malen</a:t>
            </a:r>
          </a:p>
          <a:p>
            <a:pPr lvl="1"/>
            <a:r>
              <a:rPr lang="nb-NO" dirty="0" smtClean="0"/>
              <a:t>Andre nivå</a:t>
            </a:r>
          </a:p>
          <a:p>
            <a:pPr lvl="2"/>
            <a:r>
              <a:rPr lang="nb-NO" dirty="0" smtClean="0"/>
              <a:t>Tredje nivå</a:t>
            </a:r>
          </a:p>
          <a:p>
            <a:pPr lvl="3"/>
            <a:r>
              <a:rPr lang="nb-NO" dirty="0" smtClean="0"/>
              <a:t>Fjerde nivå</a:t>
            </a:r>
          </a:p>
        </p:txBody>
      </p:sp>
      <p:sp>
        <p:nvSpPr>
          <p:cNvPr id="15" name="Plassholder for innhold 2"/>
          <p:cNvSpPr>
            <a:spLocks noGrp="1"/>
          </p:cNvSpPr>
          <p:nvPr>
            <p:ph idx="11"/>
          </p:nvPr>
        </p:nvSpPr>
        <p:spPr>
          <a:xfrm>
            <a:off x="4724400" y="1993538"/>
            <a:ext cx="3960000" cy="2675334"/>
          </a:xfrm>
        </p:spPr>
        <p:txBody>
          <a:bodyPr vert="horz" lIns="89990" tIns="46794" rIns="89990" bIns="46794" rtlCol="0">
            <a:normAutofit/>
          </a:bodyPr>
          <a:lstStyle>
            <a:lvl1pPr>
              <a:defRPr lang="nb-NO" dirty="0" smtClean="0"/>
            </a:lvl1pPr>
            <a:lvl2pPr>
              <a:defRPr lang="nb-NO" sz="1100" dirty="0" smtClean="0"/>
            </a:lvl2pPr>
            <a:lvl3pPr>
              <a:defRPr lang="nb-NO" sz="1100" dirty="0" smtClean="0"/>
            </a:lvl3pPr>
            <a:lvl4pPr>
              <a:defRPr lang="nb-NO" sz="1100" dirty="0" smtClean="0"/>
            </a:lvl4pPr>
          </a:lstStyle>
          <a:p>
            <a:pPr marL="182542" lvl="0" indent="-182542"/>
            <a:r>
              <a:rPr lang="nb-NO" dirty="0" smtClean="0"/>
              <a:t>Klikk for å redigere tekststiler i malen</a:t>
            </a:r>
          </a:p>
          <a:p>
            <a:pPr marL="358734" lvl="1" indent="-176193"/>
            <a:r>
              <a:rPr lang="nb-NO" dirty="0" smtClean="0"/>
              <a:t>Andre nivå</a:t>
            </a:r>
          </a:p>
          <a:p>
            <a:pPr marL="541277" lvl="2" indent="-182542"/>
            <a:r>
              <a:rPr lang="nb-NO" dirty="0" smtClean="0"/>
              <a:t>Tredje nivå</a:t>
            </a:r>
          </a:p>
          <a:p>
            <a:pPr marL="715881" lvl="3" indent="-174606"/>
            <a:r>
              <a:rPr lang="nb-NO" dirty="0" smtClean="0"/>
              <a:t>Fjerde nivå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468000" y="1274401"/>
            <a:ext cx="3960000" cy="719138"/>
          </a:xfrm>
        </p:spPr>
        <p:txBody>
          <a:bodyPr anchor="t">
            <a:normAutofit/>
          </a:bodyPr>
          <a:lstStyle>
            <a:lvl1pPr marL="0" indent="0">
              <a:buNone/>
              <a:defRPr sz="1500" b="1"/>
            </a:lvl1pPr>
          </a:lstStyle>
          <a:p>
            <a:pPr lvl="0"/>
            <a:r>
              <a:rPr lang="nb-NO" smtClean="0"/>
              <a:t>Klikk for å redigere tekststiler i malen</a:t>
            </a:r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3"/>
          </p:nvPr>
        </p:nvSpPr>
        <p:spPr>
          <a:xfrm>
            <a:off x="4724400" y="1274401"/>
            <a:ext cx="3960000" cy="719138"/>
          </a:xfrm>
        </p:spPr>
        <p:txBody>
          <a:bodyPr anchor="t">
            <a:normAutofit/>
          </a:bodyPr>
          <a:lstStyle>
            <a:lvl1pPr marL="0" indent="0">
              <a:buNone/>
              <a:defRPr sz="1500" b="1"/>
            </a:lvl1pPr>
          </a:lstStyle>
          <a:p>
            <a:pPr lvl="0"/>
            <a:r>
              <a:rPr lang="nb-NO" smtClean="0"/>
              <a:t>Klikk for å redigere tekststiler i malen</a:t>
            </a:r>
          </a:p>
        </p:txBody>
      </p:sp>
      <p:sp>
        <p:nvSpPr>
          <p:cNvPr id="11" name="Plassholder for dato 3"/>
          <p:cNvSpPr>
            <a:spLocks noGrp="1"/>
          </p:cNvSpPr>
          <p:nvPr>
            <p:ph type="dt" sz="half" idx="2"/>
          </p:nvPr>
        </p:nvSpPr>
        <p:spPr>
          <a:xfrm>
            <a:off x="6732240" y="4993004"/>
            <a:ext cx="1080120" cy="108011"/>
          </a:xfrm>
          <a:prstGeom prst="rect">
            <a:avLst/>
          </a:prstGeom>
        </p:spPr>
        <p:txBody>
          <a:bodyPr anchor="ctr" anchorCtr="0"/>
          <a:lstStyle>
            <a:lvl1pPr>
              <a:defRPr sz="800">
                <a:solidFill>
                  <a:srgbClr val="003244"/>
                </a:solidFill>
              </a:defRPr>
            </a:lvl1pPr>
          </a:lstStyle>
          <a:p>
            <a:fld id="{1887B716-3985-407E-8E88-4F36F2E1E78B}" type="datetime1">
              <a:rPr lang="nb-NO" smtClean="0"/>
              <a:t>13.09.2015</a:t>
            </a:fld>
            <a:endParaRPr lang="nb-NO" dirty="0"/>
          </a:p>
        </p:txBody>
      </p:sp>
      <p:sp>
        <p:nvSpPr>
          <p:cNvPr id="17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7884368" y="4993004"/>
            <a:ext cx="648072" cy="108011"/>
          </a:xfrm>
          <a:prstGeom prst="rect">
            <a:avLst/>
          </a:prstGeom>
        </p:spPr>
        <p:txBody>
          <a:bodyPr anchor="ctr" anchorCtr="0"/>
          <a:lstStyle>
            <a:lvl1pPr>
              <a:defRPr sz="800">
                <a:solidFill>
                  <a:srgbClr val="003244"/>
                </a:solidFill>
              </a:defRPr>
            </a:lvl1pPr>
          </a:lstStyle>
          <a:p>
            <a:fld id="{CDA22134-EA94-4B2E-9154-EB8F13265450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72069001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468000" y="2211723"/>
            <a:ext cx="8208000" cy="525389"/>
          </a:xfrm>
        </p:spPr>
        <p:txBody>
          <a:bodyPr/>
          <a:lstStyle>
            <a:lvl1pPr>
              <a:defRPr sz="2800"/>
            </a:lvl1pPr>
          </a:lstStyle>
          <a:p>
            <a:r>
              <a:rPr lang="nb-NO" smtClean="0"/>
              <a:t>Klikk for å redigere tittelstil</a:t>
            </a:r>
            <a:endParaRPr lang="nb-NO"/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468000" y="2787774"/>
            <a:ext cx="8208000" cy="432048"/>
          </a:xfrm>
        </p:spPr>
        <p:txBody>
          <a:bodyPr vert="horz" lIns="89990" tIns="46794" rIns="89990" bIns="46794" rtlCol="0">
            <a:normAutofit/>
          </a:bodyPr>
          <a:lstStyle>
            <a:lvl1pPr marL="0" indent="0">
              <a:buNone/>
              <a:defRPr lang="nb-NO" smtClean="0"/>
            </a:lvl1pPr>
            <a:lvl2pPr>
              <a:defRPr lang="nb-NO" sz="1100" smtClean="0"/>
            </a:lvl2pPr>
            <a:lvl3pPr>
              <a:defRPr lang="nb-NO" sz="1100" smtClean="0"/>
            </a:lvl3pPr>
            <a:lvl4pPr>
              <a:defRPr lang="nb-NO" sz="1100" smtClean="0"/>
            </a:lvl4pPr>
            <a:lvl5pPr>
              <a:defRPr lang="nb-NO" sz="1100"/>
            </a:lvl5pPr>
          </a:lstStyle>
          <a:p>
            <a:pPr marL="182542" lvl="0" indent="-182542"/>
            <a:r>
              <a:rPr lang="nb-NO" dirty="0" smtClean="0"/>
              <a:t>Klikk for å redigere tekststiler i malen</a:t>
            </a:r>
          </a:p>
        </p:txBody>
      </p:sp>
      <p:sp>
        <p:nvSpPr>
          <p:cNvPr id="7" name="Plassholder for dato 3"/>
          <p:cNvSpPr>
            <a:spLocks noGrp="1"/>
          </p:cNvSpPr>
          <p:nvPr>
            <p:ph type="dt" sz="half" idx="2"/>
          </p:nvPr>
        </p:nvSpPr>
        <p:spPr>
          <a:xfrm>
            <a:off x="6732240" y="4993004"/>
            <a:ext cx="1080120" cy="108011"/>
          </a:xfrm>
          <a:prstGeom prst="rect">
            <a:avLst/>
          </a:prstGeom>
        </p:spPr>
        <p:txBody>
          <a:bodyPr anchor="ctr" anchorCtr="0"/>
          <a:lstStyle>
            <a:lvl1pPr>
              <a:defRPr sz="800">
                <a:solidFill>
                  <a:srgbClr val="003244"/>
                </a:solidFill>
              </a:defRPr>
            </a:lvl1pPr>
          </a:lstStyle>
          <a:p>
            <a:fld id="{A874FDBC-05C3-47C4-8A80-2CA4378118B0}" type="datetime1">
              <a:rPr lang="nb-NO" smtClean="0"/>
              <a:t>13.09.2015</a:t>
            </a:fld>
            <a:endParaRPr lang="nb-NO" dirty="0"/>
          </a:p>
        </p:txBody>
      </p:sp>
      <p:sp>
        <p:nvSpPr>
          <p:cNvPr id="9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7884368" y="4993004"/>
            <a:ext cx="648072" cy="108011"/>
          </a:xfrm>
          <a:prstGeom prst="rect">
            <a:avLst/>
          </a:prstGeom>
        </p:spPr>
        <p:txBody>
          <a:bodyPr anchor="ctr" anchorCtr="0"/>
          <a:lstStyle>
            <a:lvl1pPr>
              <a:defRPr sz="800">
                <a:solidFill>
                  <a:srgbClr val="003244"/>
                </a:solidFill>
              </a:defRPr>
            </a:lvl1pPr>
          </a:lstStyle>
          <a:p>
            <a:fld id="{CDA22134-EA94-4B2E-9154-EB8F13265450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3723321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tel og innhold #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468000" y="654881"/>
            <a:ext cx="8208000" cy="463834"/>
          </a:xfrm>
        </p:spPr>
        <p:txBody>
          <a:bodyPr vert="horz" lIns="89990" tIns="46794" rIns="89990" bIns="46794" rtlCol="0" anchor="b" anchorCtr="0">
            <a:spAutoFit/>
          </a:bodyPr>
          <a:lstStyle>
            <a:lvl1pPr>
              <a:defRPr lang="nb-NO" sz="2400"/>
            </a:lvl1pPr>
          </a:lstStyle>
          <a:p>
            <a:pPr lvl="0"/>
            <a:r>
              <a:rPr lang="nb-NO" dirty="0" smtClean="0"/>
              <a:t>Klikk for å redigere tittelstil</a:t>
            </a:r>
            <a:endParaRPr lang="nb-NO" dirty="0"/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/>
        <p:txBody>
          <a:bodyPr vert="horz" lIns="89990" tIns="46794" rIns="89990" bIns="46794" rtlCol="0">
            <a:normAutofit/>
          </a:bodyPr>
          <a:lstStyle>
            <a:lvl1pPr>
              <a:defRPr lang="nb-NO" smtClean="0"/>
            </a:lvl1pPr>
            <a:lvl2pPr>
              <a:defRPr lang="nb-NO" sz="1100" smtClean="0"/>
            </a:lvl2pPr>
            <a:lvl3pPr>
              <a:defRPr lang="nb-NO" sz="1100" smtClean="0"/>
            </a:lvl3pPr>
            <a:lvl4pPr>
              <a:defRPr lang="nb-NO" sz="1100" smtClean="0"/>
            </a:lvl4pPr>
            <a:lvl5pPr>
              <a:defRPr lang="nb-NO" sz="1100"/>
            </a:lvl5pPr>
          </a:lstStyle>
          <a:p>
            <a:pPr marL="182542" lvl="0" indent="-182542"/>
            <a:r>
              <a:rPr lang="nb-NO" smtClean="0"/>
              <a:t>Klikk for å redigere tekststiler i malen</a:t>
            </a:r>
          </a:p>
          <a:p>
            <a:pPr marL="358734" lvl="1" indent="-176193"/>
            <a:r>
              <a:rPr lang="nb-NO" smtClean="0"/>
              <a:t>Andre nivå</a:t>
            </a:r>
          </a:p>
          <a:p>
            <a:pPr marL="541277" lvl="2" indent="-182542"/>
            <a:r>
              <a:rPr lang="nb-NO" smtClean="0"/>
              <a:t>Tredje nivå</a:t>
            </a:r>
          </a:p>
          <a:p>
            <a:pPr marL="715881" lvl="3" indent="-174606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nb-NO"/>
          </a:p>
        </p:txBody>
      </p:sp>
      <p:sp>
        <p:nvSpPr>
          <p:cNvPr id="7" name="Plassholder for dato 3"/>
          <p:cNvSpPr>
            <a:spLocks noGrp="1"/>
          </p:cNvSpPr>
          <p:nvPr>
            <p:ph type="dt" sz="half" idx="2"/>
          </p:nvPr>
        </p:nvSpPr>
        <p:spPr>
          <a:xfrm>
            <a:off x="6732240" y="4993004"/>
            <a:ext cx="1080120" cy="108011"/>
          </a:xfrm>
          <a:prstGeom prst="rect">
            <a:avLst/>
          </a:prstGeom>
        </p:spPr>
        <p:txBody>
          <a:bodyPr anchor="ctr" anchorCtr="0"/>
          <a:lstStyle>
            <a:lvl1pPr>
              <a:defRPr sz="800">
                <a:solidFill>
                  <a:schemeClr val="bg1"/>
                </a:solidFill>
              </a:defRPr>
            </a:lvl1pPr>
          </a:lstStyle>
          <a:p>
            <a:fld id="{A31014FE-305F-472A-8BCE-AEE5AEB3566C}" type="datetime1">
              <a:rPr lang="nb-NO" smtClean="0"/>
              <a:t>13.09.2015</a:t>
            </a:fld>
            <a:endParaRPr lang="nb-NO" dirty="0"/>
          </a:p>
        </p:txBody>
      </p:sp>
      <p:sp>
        <p:nvSpPr>
          <p:cNvPr id="8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6732240" y="4776980"/>
            <a:ext cx="2160240" cy="162017"/>
          </a:xfrm>
          <a:prstGeom prst="rect">
            <a:avLst/>
          </a:prstGeom>
        </p:spPr>
        <p:txBody>
          <a:bodyPr anchor="ctr" anchorCtr="0"/>
          <a:lstStyle>
            <a:lvl1pPr algn="l">
              <a:defRPr sz="1000" b="1">
                <a:solidFill>
                  <a:schemeClr val="bg1"/>
                </a:solidFill>
              </a:defRPr>
            </a:lvl1pPr>
          </a:lstStyle>
          <a:p>
            <a:r>
              <a:rPr lang="nb-NO" smtClean="0"/>
              <a:t>IKT utfordringsbilde</a:t>
            </a:r>
            <a:endParaRPr lang="nb-NO" dirty="0"/>
          </a:p>
        </p:txBody>
      </p:sp>
      <p:sp>
        <p:nvSpPr>
          <p:cNvPr id="9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7884368" y="4993004"/>
            <a:ext cx="648072" cy="108011"/>
          </a:xfrm>
          <a:prstGeom prst="rect">
            <a:avLst/>
          </a:prstGeom>
        </p:spPr>
        <p:txBody>
          <a:bodyPr anchor="ctr" anchorCtr="0"/>
          <a:lstStyle>
            <a:lvl1pPr>
              <a:defRPr sz="800">
                <a:solidFill>
                  <a:schemeClr val="bg1"/>
                </a:solidFill>
              </a:defRPr>
            </a:lvl1pPr>
          </a:lstStyle>
          <a:p>
            <a:fld id="{CDA22134-EA94-4B2E-9154-EB8F13265450}" type="slidenum">
              <a:rPr lang="nb-NO" smtClean="0"/>
              <a:pPr/>
              <a:t>‹#›</a:t>
            </a:fld>
            <a:endParaRPr lang="nb-NO" dirty="0"/>
          </a:p>
        </p:txBody>
      </p:sp>
      <p:pic>
        <p:nvPicPr>
          <p:cNvPr id="5" name="Bilde 4"/>
          <p:cNvPicPr>
            <a:picLocks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6402" y="4895100"/>
            <a:ext cx="1076709" cy="145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7407540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8118098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tellysbilde #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Bilde 8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9054"/>
          <a:stretch/>
        </p:blipFill>
        <p:spPr>
          <a:xfrm>
            <a:off x="-4984" y="3510645"/>
            <a:ext cx="9144000" cy="1632856"/>
          </a:xfrm>
          <a:prstGeom prst="rect">
            <a:avLst/>
          </a:prstGeom>
          <a:solidFill>
            <a:srgbClr val="0093A7"/>
          </a:solidFill>
        </p:spPr>
      </p:pic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685800" y="3763185"/>
            <a:ext cx="7772400" cy="402279"/>
          </a:xfrm>
        </p:spPr>
        <p:txBody>
          <a:bodyPr>
            <a:spAutoFit/>
          </a:bodyPr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nb-NO" smtClean="0"/>
              <a:t>Klikk for å redigere tittelstil</a:t>
            </a:r>
            <a:endParaRPr lang="nb-NO" dirty="0"/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685800" y="4139618"/>
            <a:ext cx="7772400" cy="279168"/>
          </a:xfrm>
        </p:spPr>
        <p:txBody>
          <a:bodyPr wrap="square">
            <a:spAutoFit/>
          </a:bodyPr>
          <a:lstStyle>
            <a:lvl1pPr marL="0" indent="0" algn="l">
              <a:buNone/>
              <a:defRPr>
                <a:solidFill>
                  <a:schemeClr val="bg1"/>
                </a:solidFill>
              </a:defRPr>
            </a:lvl1pPr>
            <a:lvl2pPr marL="4571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29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5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7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8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03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1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b-NO" smtClean="0"/>
              <a:t>Klikk for å redigere undertittelstil i malen</a:t>
            </a:r>
            <a:endParaRPr lang="nb-NO" dirty="0"/>
          </a:p>
        </p:txBody>
      </p:sp>
      <p:sp>
        <p:nvSpPr>
          <p:cNvPr id="13" name="Plassholder for bilde 2"/>
          <p:cNvSpPr>
            <a:spLocks noGrp="1"/>
          </p:cNvSpPr>
          <p:nvPr>
            <p:ph type="pic" idx="10"/>
          </p:nvPr>
        </p:nvSpPr>
        <p:spPr>
          <a:xfrm>
            <a:off x="0" y="1979"/>
            <a:ext cx="9144000" cy="3131815"/>
          </a:xfrm>
        </p:spPr>
        <p:txBody>
          <a:bodyPr/>
          <a:lstStyle>
            <a:lvl1pPr marL="0" indent="0">
              <a:buNone/>
              <a:defRPr sz="3200"/>
            </a:lvl1pPr>
            <a:lvl2pPr marL="457148" indent="0">
              <a:buNone/>
              <a:defRPr sz="2800"/>
            </a:lvl2pPr>
            <a:lvl3pPr marL="914296" indent="0">
              <a:buNone/>
              <a:defRPr sz="2400"/>
            </a:lvl3pPr>
            <a:lvl4pPr marL="1371444" indent="0">
              <a:buNone/>
              <a:defRPr sz="2000"/>
            </a:lvl4pPr>
            <a:lvl5pPr marL="1828592" indent="0">
              <a:buNone/>
              <a:defRPr sz="2000"/>
            </a:lvl5pPr>
            <a:lvl6pPr marL="2285740" indent="0">
              <a:buNone/>
              <a:defRPr sz="2000"/>
            </a:lvl6pPr>
            <a:lvl7pPr marL="2742888" indent="0">
              <a:buNone/>
              <a:defRPr sz="2000"/>
            </a:lvl7pPr>
            <a:lvl8pPr marL="3200036" indent="0">
              <a:buNone/>
              <a:defRPr sz="2000"/>
            </a:lvl8pPr>
            <a:lvl9pPr marL="3657184" indent="0">
              <a:buNone/>
              <a:defRPr sz="2000"/>
            </a:lvl9pPr>
          </a:lstStyle>
          <a:p>
            <a:r>
              <a:rPr lang="nb-NO" smtClean="0"/>
              <a:t>Klikk ikonet for å legge til et bilde</a:t>
            </a:r>
            <a:endParaRPr lang="nb-NO" dirty="0"/>
          </a:p>
        </p:txBody>
      </p:sp>
      <p:pic>
        <p:nvPicPr>
          <p:cNvPr id="7" name="Bilde 6"/>
          <p:cNvPicPr>
            <a:picLocks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7806" y="3208560"/>
            <a:ext cx="1682357" cy="228581"/>
          </a:xfrm>
          <a:prstGeom prst="rect">
            <a:avLst/>
          </a:prstGeom>
        </p:spPr>
      </p:pic>
      <p:sp>
        <p:nvSpPr>
          <p:cNvPr id="8" name="Plassholder for tekst 4"/>
          <p:cNvSpPr>
            <a:spLocks noGrp="1"/>
          </p:cNvSpPr>
          <p:nvPr>
            <p:ph type="body" sz="quarter" idx="11" hasCustomPrompt="1"/>
          </p:nvPr>
        </p:nvSpPr>
        <p:spPr>
          <a:xfrm>
            <a:off x="685721" y="4804010"/>
            <a:ext cx="7772479" cy="309946"/>
          </a:xfrm>
        </p:spPr>
        <p:txBody>
          <a:bodyPr wrap="square" anchor="b" anchorCtr="0">
            <a:sp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nb-NO" smtClean="0"/>
              <a:t>Sted, dato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44550565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tellys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1143000" y="841772"/>
            <a:ext cx="6858000" cy="1790700"/>
          </a:xfrm>
        </p:spPr>
        <p:txBody>
          <a:bodyPr anchor="b"/>
          <a:lstStyle>
            <a:lvl1pPr algn="ctr">
              <a:defRPr sz="5100"/>
            </a:lvl1pPr>
          </a:lstStyle>
          <a:p>
            <a:r>
              <a:rPr lang="nb-NO" smtClean="0"/>
              <a:t>Klikk for å redigere tittelstil</a:t>
            </a:r>
            <a:endParaRPr lang="nb-NO"/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1143000" y="2701528"/>
            <a:ext cx="6858000" cy="1241822"/>
          </a:xfrm>
        </p:spPr>
        <p:txBody>
          <a:bodyPr/>
          <a:lstStyle>
            <a:lvl1pPr marL="0" indent="0" algn="ctr">
              <a:buNone/>
              <a:defRPr sz="2000"/>
            </a:lvl1pPr>
            <a:lvl2pPr marL="389582" indent="0" algn="ctr">
              <a:buNone/>
              <a:defRPr sz="1700"/>
            </a:lvl2pPr>
            <a:lvl3pPr marL="779163" indent="0" algn="ctr">
              <a:buNone/>
              <a:defRPr sz="1500"/>
            </a:lvl3pPr>
            <a:lvl4pPr marL="1168745" indent="0" algn="ctr">
              <a:buNone/>
              <a:defRPr sz="1400"/>
            </a:lvl4pPr>
            <a:lvl5pPr marL="1558326" indent="0" algn="ctr">
              <a:buNone/>
              <a:defRPr sz="1400"/>
            </a:lvl5pPr>
            <a:lvl6pPr marL="1947908" indent="0" algn="ctr">
              <a:buNone/>
              <a:defRPr sz="1400"/>
            </a:lvl6pPr>
            <a:lvl7pPr marL="2337489" indent="0" algn="ctr">
              <a:buNone/>
              <a:defRPr sz="1400"/>
            </a:lvl7pPr>
            <a:lvl8pPr marL="2727071" indent="0" algn="ctr">
              <a:buNone/>
              <a:defRPr sz="1400"/>
            </a:lvl8pPr>
            <a:lvl9pPr marL="3116652" indent="0" algn="ctr">
              <a:buNone/>
              <a:defRPr sz="1400"/>
            </a:lvl9pPr>
          </a:lstStyle>
          <a:p>
            <a:r>
              <a:rPr lang="nb-NO" smtClean="0"/>
              <a:t>Klikk for å redigere undertittelstil i malen</a:t>
            </a:r>
            <a:endParaRPr lang="nb-NO"/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buClr>
                <a:srgbClr val="44546A"/>
              </a:buClr>
            </a:pPr>
            <a:fld id="{57CDDEFD-23F0-42EB-B054-95271AF0C6FD}" type="datetimeFigureOut">
              <a:rPr lang="nb-NO" smtClean="0">
                <a:solidFill>
                  <a:prstClr val="black">
                    <a:tint val="75000"/>
                  </a:prstClr>
                </a:solidFill>
              </a:rPr>
              <a:pPr>
                <a:buClr>
                  <a:srgbClr val="44546A"/>
                </a:buClr>
              </a:pPr>
              <a:t>13.09.2015</a:t>
            </a:fld>
            <a:endParaRPr lang="nb-N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buClr>
                <a:srgbClr val="44546A"/>
              </a:buClr>
            </a:pPr>
            <a:endParaRPr lang="nb-N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buClr>
                <a:srgbClr val="44546A"/>
              </a:buClr>
            </a:pPr>
            <a:fld id="{1C4D0B95-3711-4744-9B0D-35971583D887}" type="slidenum">
              <a:rPr lang="nb-NO" smtClean="0">
                <a:solidFill>
                  <a:prstClr val="black">
                    <a:tint val="75000"/>
                  </a:prstClr>
                </a:solidFill>
              </a:rPr>
              <a:pPr>
                <a:buClr>
                  <a:srgbClr val="44546A"/>
                </a:buClr>
              </a:pPr>
              <a:t>‹#›</a:t>
            </a:fld>
            <a:endParaRPr lang="nb-NO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8824963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628652" y="273844"/>
            <a:ext cx="6835502" cy="684944"/>
          </a:xfrm>
        </p:spPr>
        <p:txBody>
          <a:bodyPr>
            <a:normAutofit/>
          </a:bodyPr>
          <a:lstStyle>
            <a:lvl1pPr>
              <a:defRPr sz="2400" b="1">
                <a:solidFill>
                  <a:srgbClr val="7030A0"/>
                </a:solidFill>
                <a:latin typeface="+mn-lt"/>
              </a:defRPr>
            </a:lvl1pPr>
          </a:lstStyle>
          <a:p>
            <a:r>
              <a:rPr lang="nb-NO" smtClean="0"/>
              <a:t>Klikk for å redigere tittelstil</a:t>
            </a:r>
            <a:endParaRPr lang="nb-NO"/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628650" y="1111930"/>
            <a:ext cx="8106977" cy="3329126"/>
          </a:xfrm>
        </p:spPr>
        <p:txBody>
          <a:bodyPr>
            <a:normAutofit/>
          </a:bodyPr>
          <a:lstStyle>
            <a:lvl1pPr>
              <a:defRPr sz="1700"/>
            </a:lvl1pPr>
            <a:lvl2pPr>
              <a:defRPr sz="15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nb-NO" dirty="0" smtClean="0"/>
              <a:t>Klikk for å redigere tekststiler i malen</a:t>
            </a:r>
          </a:p>
          <a:p>
            <a:pPr lvl="1"/>
            <a:r>
              <a:rPr lang="nb-NO" dirty="0" smtClean="0"/>
              <a:t>Andre nivå</a:t>
            </a:r>
          </a:p>
          <a:p>
            <a:pPr lvl="2"/>
            <a:r>
              <a:rPr lang="nb-NO" dirty="0" smtClean="0"/>
              <a:t>Tredje nivå</a:t>
            </a:r>
          </a:p>
          <a:p>
            <a:pPr lvl="3"/>
            <a:r>
              <a:rPr lang="nb-NO" dirty="0" smtClean="0"/>
              <a:t>Fjerde nivå</a:t>
            </a:r>
          </a:p>
          <a:p>
            <a:pPr lvl="4"/>
            <a:r>
              <a:rPr lang="nb-NO" dirty="0" smtClean="0"/>
              <a:t>Femte nivå</a:t>
            </a:r>
            <a:endParaRPr lang="nb-NO" dirty="0"/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>
          <a:xfrm>
            <a:off x="628652" y="4767264"/>
            <a:ext cx="1642459" cy="273844"/>
          </a:xfrm>
        </p:spPr>
        <p:txBody>
          <a:bodyPr/>
          <a:lstStyle/>
          <a:p>
            <a:pPr>
              <a:buClr>
                <a:srgbClr val="44546A"/>
              </a:buClr>
            </a:pPr>
            <a:fld id="{57CDDEFD-23F0-42EB-B054-95271AF0C6FD}" type="datetimeFigureOut">
              <a:rPr lang="nb-NO" smtClean="0">
                <a:solidFill>
                  <a:prstClr val="black">
                    <a:tint val="75000"/>
                  </a:prstClr>
                </a:solidFill>
              </a:rPr>
              <a:pPr>
                <a:buClr>
                  <a:srgbClr val="44546A"/>
                </a:buClr>
              </a:pPr>
              <a:t>13.09.2015</a:t>
            </a:fld>
            <a:endParaRPr lang="nb-N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buClr>
                <a:srgbClr val="44546A"/>
              </a:buClr>
            </a:pPr>
            <a:endParaRPr lang="nb-N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>
          <a:xfrm>
            <a:off x="8178384" y="4767264"/>
            <a:ext cx="566425" cy="273844"/>
          </a:xfrm>
        </p:spPr>
        <p:txBody>
          <a:bodyPr/>
          <a:lstStyle/>
          <a:p>
            <a:pPr>
              <a:buClr>
                <a:srgbClr val="44546A"/>
              </a:buClr>
            </a:pPr>
            <a:fld id="{1C4D0B95-3711-4744-9B0D-35971583D887}" type="slidenum">
              <a:rPr lang="nb-NO" smtClean="0">
                <a:solidFill>
                  <a:prstClr val="black">
                    <a:tint val="75000"/>
                  </a:prstClr>
                </a:solidFill>
              </a:rPr>
              <a:pPr>
                <a:buClr>
                  <a:srgbClr val="44546A"/>
                </a:buClr>
              </a:pPr>
              <a:t>‹#›</a:t>
            </a:fld>
            <a:endParaRPr lang="nb-NO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7" name="Bilde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74924" y="4686022"/>
            <a:ext cx="295209" cy="373832"/>
          </a:xfrm>
          <a:prstGeom prst="rect">
            <a:avLst/>
          </a:prstGeom>
        </p:spPr>
      </p:pic>
      <p:pic>
        <p:nvPicPr>
          <p:cNvPr id="8" name="Bilde 7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82663" y="4834364"/>
            <a:ext cx="800411" cy="233068"/>
          </a:xfrm>
          <a:prstGeom prst="rect">
            <a:avLst/>
          </a:prstGeom>
        </p:spPr>
      </p:pic>
      <p:pic>
        <p:nvPicPr>
          <p:cNvPr id="9" name="Bilde 8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34681" y="4740939"/>
            <a:ext cx="1109247" cy="333152"/>
          </a:xfrm>
          <a:prstGeom prst="rect">
            <a:avLst/>
          </a:prstGeom>
        </p:spPr>
      </p:pic>
      <p:pic>
        <p:nvPicPr>
          <p:cNvPr id="10" name="Bilde 9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04830" y="273845"/>
            <a:ext cx="1130798" cy="4718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6450638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Del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624254" y="1282305"/>
            <a:ext cx="7886700" cy="2139553"/>
          </a:xfrm>
        </p:spPr>
        <p:txBody>
          <a:bodyPr anchor="b"/>
          <a:lstStyle>
            <a:lvl1pPr>
              <a:defRPr sz="5100"/>
            </a:lvl1pPr>
          </a:lstStyle>
          <a:p>
            <a:r>
              <a:rPr lang="nb-NO" smtClean="0"/>
              <a:t>Klikk for å redigere tittelstil</a:t>
            </a:r>
            <a:endParaRPr lang="nb-NO"/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624254" y="3442099"/>
            <a:ext cx="7886700" cy="1125140"/>
          </a:xfrm>
        </p:spPr>
        <p:txBody>
          <a:bodyPr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389582" indent="0">
              <a:buNone/>
              <a:defRPr sz="1700">
                <a:solidFill>
                  <a:schemeClr val="tx1">
                    <a:tint val="75000"/>
                  </a:schemeClr>
                </a:solidFill>
              </a:defRPr>
            </a:lvl2pPr>
            <a:lvl3pPr marL="779163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3pPr>
            <a:lvl4pPr marL="1168745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55832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1947908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337489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2727071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116652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 smtClean="0"/>
              <a:t>Klikk for å redigere tekststiler i malen</a:t>
            </a: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buClr>
                <a:srgbClr val="44546A"/>
              </a:buClr>
            </a:pPr>
            <a:fld id="{57CDDEFD-23F0-42EB-B054-95271AF0C6FD}" type="datetimeFigureOut">
              <a:rPr lang="nb-NO" smtClean="0">
                <a:solidFill>
                  <a:prstClr val="black">
                    <a:tint val="75000"/>
                  </a:prstClr>
                </a:solidFill>
              </a:rPr>
              <a:pPr>
                <a:buClr>
                  <a:srgbClr val="44546A"/>
                </a:buClr>
              </a:pPr>
              <a:t>13.09.2015</a:t>
            </a:fld>
            <a:endParaRPr lang="nb-N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buClr>
                <a:srgbClr val="44546A"/>
              </a:buClr>
            </a:pPr>
            <a:endParaRPr lang="nb-N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buClr>
                <a:srgbClr val="44546A"/>
              </a:buClr>
            </a:pPr>
            <a:fld id="{1C4D0B95-3711-4744-9B0D-35971583D887}" type="slidenum">
              <a:rPr lang="nb-NO" smtClean="0">
                <a:solidFill>
                  <a:prstClr val="black">
                    <a:tint val="75000"/>
                  </a:prstClr>
                </a:solidFill>
              </a:rPr>
              <a:pPr>
                <a:buClr>
                  <a:srgbClr val="44546A"/>
                </a:buClr>
              </a:pPr>
              <a:t>‹#›</a:t>
            </a:fld>
            <a:endParaRPr lang="nb-NO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10272176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smtClean="0"/>
              <a:t>Klikk for å redigere tittelstil</a:t>
            </a:r>
            <a:endParaRPr lang="nb-NO"/>
          </a:p>
        </p:txBody>
      </p:sp>
      <p:sp>
        <p:nvSpPr>
          <p:cNvPr id="3" name="Plassholder for innhold 2"/>
          <p:cNvSpPr>
            <a:spLocks noGrp="1"/>
          </p:cNvSpPr>
          <p:nvPr>
            <p:ph sz="half" idx="1"/>
          </p:nvPr>
        </p:nvSpPr>
        <p:spPr>
          <a:xfrm>
            <a:off x="628651" y="1369219"/>
            <a:ext cx="3873011" cy="3263504"/>
          </a:xfrm>
        </p:spPr>
        <p:txBody>
          <a:bodyPr/>
          <a:lstStyle/>
          <a:p>
            <a:pPr lvl="0"/>
            <a:r>
              <a:rPr lang="nb-NO" smtClean="0"/>
              <a:t>Klikk for å redigere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  <a:p>
            <a:pPr lvl="3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nb-NO"/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4642340" y="1369219"/>
            <a:ext cx="3873012" cy="3263504"/>
          </a:xfrm>
        </p:spPr>
        <p:txBody>
          <a:bodyPr/>
          <a:lstStyle/>
          <a:p>
            <a:pPr lvl="0"/>
            <a:r>
              <a:rPr lang="nb-NO" smtClean="0"/>
              <a:t>Klikk for å redigere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  <a:p>
            <a:pPr lvl="3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nb-NO"/>
          </a:p>
        </p:txBody>
      </p:sp>
      <p:sp>
        <p:nvSpPr>
          <p:cNvPr id="5" name="Plassholder for dato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buClr>
                <a:srgbClr val="44546A"/>
              </a:buClr>
            </a:pPr>
            <a:fld id="{57CDDEFD-23F0-42EB-B054-95271AF0C6FD}" type="datetimeFigureOut">
              <a:rPr lang="nb-NO" smtClean="0">
                <a:solidFill>
                  <a:prstClr val="black">
                    <a:tint val="75000"/>
                  </a:prstClr>
                </a:solidFill>
              </a:rPr>
              <a:pPr>
                <a:buClr>
                  <a:srgbClr val="44546A"/>
                </a:buClr>
              </a:pPr>
              <a:t>13.09.2015</a:t>
            </a:fld>
            <a:endParaRPr lang="nb-N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buClr>
                <a:srgbClr val="44546A"/>
              </a:buClr>
            </a:pPr>
            <a:endParaRPr lang="nb-N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buClr>
                <a:srgbClr val="44546A"/>
              </a:buClr>
            </a:pPr>
            <a:fld id="{1C4D0B95-3711-4744-9B0D-35971583D887}" type="slidenum">
              <a:rPr lang="nb-NO" smtClean="0">
                <a:solidFill>
                  <a:prstClr val="black">
                    <a:tint val="75000"/>
                  </a:prstClr>
                </a:solidFill>
              </a:rPr>
              <a:pPr>
                <a:buClr>
                  <a:srgbClr val="44546A"/>
                </a:buClr>
              </a:pPr>
              <a:t>‹#›</a:t>
            </a:fld>
            <a:endParaRPr lang="nb-NO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96934639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630117" y="273844"/>
            <a:ext cx="7886700" cy="994172"/>
          </a:xfrm>
        </p:spPr>
        <p:txBody>
          <a:bodyPr/>
          <a:lstStyle/>
          <a:p>
            <a:r>
              <a:rPr lang="nb-NO" smtClean="0"/>
              <a:t>Klikk for å redigere tittelstil</a:t>
            </a:r>
            <a:endParaRPr lang="nb-NO"/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630117" y="1260872"/>
            <a:ext cx="3868615" cy="617934"/>
          </a:xfrm>
        </p:spPr>
        <p:txBody>
          <a:bodyPr anchor="b"/>
          <a:lstStyle>
            <a:lvl1pPr marL="0" indent="0">
              <a:buNone/>
              <a:defRPr sz="2000" b="1"/>
            </a:lvl1pPr>
            <a:lvl2pPr marL="389582" indent="0">
              <a:buNone/>
              <a:defRPr sz="1700" b="1"/>
            </a:lvl2pPr>
            <a:lvl3pPr marL="779163" indent="0">
              <a:buNone/>
              <a:defRPr sz="1500" b="1"/>
            </a:lvl3pPr>
            <a:lvl4pPr marL="1168745" indent="0">
              <a:buNone/>
              <a:defRPr sz="1400" b="1"/>
            </a:lvl4pPr>
            <a:lvl5pPr marL="1558326" indent="0">
              <a:buNone/>
              <a:defRPr sz="1400" b="1"/>
            </a:lvl5pPr>
            <a:lvl6pPr marL="1947908" indent="0">
              <a:buNone/>
              <a:defRPr sz="1400" b="1"/>
            </a:lvl6pPr>
            <a:lvl7pPr marL="2337489" indent="0">
              <a:buNone/>
              <a:defRPr sz="1400" b="1"/>
            </a:lvl7pPr>
            <a:lvl8pPr marL="2727071" indent="0">
              <a:buNone/>
              <a:defRPr sz="1400" b="1"/>
            </a:lvl8pPr>
            <a:lvl9pPr marL="3116652" indent="0">
              <a:buNone/>
              <a:defRPr sz="1400" b="1"/>
            </a:lvl9pPr>
          </a:lstStyle>
          <a:p>
            <a:pPr lvl="0"/>
            <a:r>
              <a:rPr lang="nb-NO" smtClean="0"/>
              <a:t>Klikk for å redigere tekststiler i malen</a:t>
            </a:r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630117" y="1878806"/>
            <a:ext cx="3868615" cy="2763441"/>
          </a:xfrm>
        </p:spPr>
        <p:txBody>
          <a:bodyPr/>
          <a:lstStyle/>
          <a:p>
            <a:pPr lvl="0"/>
            <a:r>
              <a:rPr lang="nb-NO" smtClean="0"/>
              <a:t>Klikk for å redigere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  <a:p>
            <a:pPr lvl="3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nb-NO"/>
          </a:p>
        </p:txBody>
      </p:sp>
      <p:sp>
        <p:nvSpPr>
          <p:cNvPr id="5" name="Plassholder for tekst 4"/>
          <p:cNvSpPr>
            <a:spLocks noGrp="1"/>
          </p:cNvSpPr>
          <p:nvPr>
            <p:ph type="body" sz="quarter" idx="3"/>
          </p:nvPr>
        </p:nvSpPr>
        <p:spPr>
          <a:xfrm>
            <a:off x="4629152" y="1260872"/>
            <a:ext cx="3887665" cy="617934"/>
          </a:xfrm>
        </p:spPr>
        <p:txBody>
          <a:bodyPr anchor="b"/>
          <a:lstStyle>
            <a:lvl1pPr marL="0" indent="0">
              <a:buNone/>
              <a:defRPr sz="2000" b="1"/>
            </a:lvl1pPr>
            <a:lvl2pPr marL="389582" indent="0">
              <a:buNone/>
              <a:defRPr sz="1700" b="1"/>
            </a:lvl2pPr>
            <a:lvl3pPr marL="779163" indent="0">
              <a:buNone/>
              <a:defRPr sz="1500" b="1"/>
            </a:lvl3pPr>
            <a:lvl4pPr marL="1168745" indent="0">
              <a:buNone/>
              <a:defRPr sz="1400" b="1"/>
            </a:lvl4pPr>
            <a:lvl5pPr marL="1558326" indent="0">
              <a:buNone/>
              <a:defRPr sz="1400" b="1"/>
            </a:lvl5pPr>
            <a:lvl6pPr marL="1947908" indent="0">
              <a:buNone/>
              <a:defRPr sz="1400" b="1"/>
            </a:lvl6pPr>
            <a:lvl7pPr marL="2337489" indent="0">
              <a:buNone/>
              <a:defRPr sz="1400" b="1"/>
            </a:lvl7pPr>
            <a:lvl8pPr marL="2727071" indent="0">
              <a:buNone/>
              <a:defRPr sz="1400" b="1"/>
            </a:lvl8pPr>
            <a:lvl9pPr marL="3116652" indent="0">
              <a:buNone/>
              <a:defRPr sz="1400" b="1"/>
            </a:lvl9pPr>
          </a:lstStyle>
          <a:p>
            <a:pPr lvl="0"/>
            <a:r>
              <a:rPr lang="nb-NO" smtClean="0"/>
              <a:t>Klikk for å redigere tekststiler i malen</a:t>
            </a:r>
          </a:p>
        </p:txBody>
      </p:sp>
      <p:sp>
        <p:nvSpPr>
          <p:cNvPr id="6" name="Plassholder for innhold 5"/>
          <p:cNvSpPr>
            <a:spLocks noGrp="1"/>
          </p:cNvSpPr>
          <p:nvPr>
            <p:ph sz="quarter" idx="4"/>
          </p:nvPr>
        </p:nvSpPr>
        <p:spPr>
          <a:xfrm>
            <a:off x="4629152" y="1878806"/>
            <a:ext cx="3887665" cy="2763441"/>
          </a:xfrm>
        </p:spPr>
        <p:txBody>
          <a:bodyPr/>
          <a:lstStyle/>
          <a:p>
            <a:pPr lvl="0"/>
            <a:r>
              <a:rPr lang="nb-NO" smtClean="0"/>
              <a:t>Klikk for å redigere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  <a:p>
            <a:pPr lvl="3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nb-NO"/>
          </a:p>
        </p:txBody>
      </p:sp>
      <p:sp>
        <p:nvSpPr>
          <p:cNvPr id="7" name="Plassholder for dato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buClr>
                <a:srgbClr val="44546A"/>
              </a:buClr>
            </a:pPr>
            <a:fld id="{57CDDEFD-23F0-42EB-B054-95271AF0C6FD}" type="datetimeFigureOut">
              <a:rPr lang="nb-NO" smtClean="0">
                <a:solidFill>
                  <a:prstClr val="black">
                    <a:tint val="75000"/>
                  </a:prstClr>
                </a:solidFill>
              </a:rPr>
              <a:pPr>
                <a:buClr>
                  <a:srgbClr val="44546A"/>
                </a:buClr>
              </a:pPr>
              <a:t>13.09.2015</a:t>
            </a:fld>
            <a:endParaRPr lang="nb-N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Plassholder for bunntekst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buClr>
                <a:srgbClr val="44546A"/>
              </a:buClr>
            </a:pPr>
            <a:endParaRPr lang="nb-N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Plassholder for lysbildenumm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buClr>
                <a:srgbClr val="44546A"/>
              </a:buClr>
            </a:pPr>
            <a:fld id="{1C4D0B95-3711-4744-9B0D-35971583D887}" type="slidenum">
              <a:rPr lang="nb-NO" smtClean="0">
                <a:solidFill>
                  <a:prstClr val="black">
                    <a:tint val="75000"/>
                  </a:prstClr>
                </a:solidFill>
              </a:rPr>
              <a:pPr>
                <a:buClr>
                  <a:srgbClr val="44546A"/>
                </a:buClr>
              </a:pPr>
              <a:t>‹#›</a:t>
            </a:fld>
            <a:endParaRPr lang="nb-NO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88393161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smtClean="0"/>
              <a:t>Klikk for å redigere tittelstil</a:t>
            </a:r>
            <a:endParaRPr lang="nb-NO"/>
          </a:p>
        </p:txBody>
      </p:sp>
      <p:sp>
        <p:nvSpPr>
          <p:cNvPr id="3" name="Plassholder for dato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buClr>
                <a:srgbClr val="44546A"/>
              </a:buClr>
            </a:pPr>
            <a:fld id="{57CDDEFD-23F0-42EB-B054-95271AF0C6FD}" type="datetimeFigureOut">
              <a:rPr lang="nb-NO" smtClean="0">
                <a:solidFill>
                  <a:prstClr val="black">
                    <a:tint val="75000"/>
                  </a:prstClr>
                </a:solidFill>
              </a:rPr>
              <a:pPr>
                <a:buClr>
                  <a:srgbClr val="44546A"/>
                </a:buClr>
              </a:pPr>
              <a:t>13.09.2015</a:t>
            </a:fld>
            <a:endParaRPr lang="nb-N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Plassholder for bunntekst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buClr>
                <a:srgbClr val="44546A"/>
              </a:buClr>
            </a:pPr>
            <a:endParaRPr lang="nb-N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Plassholder for lysbilde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buClr>
                <a:srgbClr val="44546A"/>
              </a:buClr>
            </a:pPr>
            <a:fld id="{1C4D0B95-3711-4744-9B0D-35971583D887}" type="slidenum">
              <a:rPr lang="nb-NO" smtClean="0">
                <a:solidFill>
                  <a:prstClr val="black">
                    <a:tint val="75000"/>
                  </a:prstClr>
                </a:solidFill>
              </a:rPr>
              <a:pPr>
                <a:buClr>
                  <a:srgbClr val="44546A"/>
                </a:buClr>
              </a:pPr>
              <a:t>‹#›</a:t>
            </a:fld>
            <a:endParaRPr lang="nb-NO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76954093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dato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buClr>
                <a:srgbClr val="44546A"/>
              </a:buClr>
            </a:pPr>
            <a:fld id="{57CDDEFD-23F0-42EB-B054-95271AF0C6FD}" type="datetimeFigureOut">
              <a:rPr lang="nb-NO" smtClean="0">
                <a:solidFill>
                  <a:prstClr val="black">
                    <a:tint val="75000"/>
                  </a:prstClr>
                </a:solidFill>
              </a:rPr>
              <a:pPr>
                <a:buClr>
                  <a:srgbClr val="44546A"/>
                </a:buClr>
              </a:pPr>
              <a:t>13.09.2015</a:t>
            </a:fld>
            <a:endParaRPr lang="nb-N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Plassholder for bunntekst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buClr>
                <a:srgbClr val="44546A"/>
              </a:buClr>
            </a:pPr>
            <a:endParaRPr lang="nb-N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buClr>
                <a:srgbClr val="44546A"/>
              </a:buClr>
            </a:pPr>
            <a:fld id="{1C4D0B95-3711-4744-9B0D-35971583D887}" type="slidenum">
              <a:rPr lang="nb-NO" smtClean="0">
                <a:solidFill>
                  <a:prstClr val="black">
                    <a:tint val="75000"/>
                  </a:prstClr>
                </a:solidFill>
              </a:rPr>
              <a:pPr>
                <a:buClr>
                  <a:srgbClr val="44546A"/>
                </a:buClr>
              </a:pPr>
              <a:t>‹#›</a:t>
            </a:fld>
            <a:endParaRPr lang="nb-NO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79644347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nhold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630115" y="342900"/>
            <a:ext cx="2948354" cy="1200150"/>
          </a:xfrm>
        </p:spPr>
        <p:txBody>
          <a:bodyPr anchor="b"/>
          <a:lstStyle>
            <a:lvl1pPr>
              <a:defRPr sz="2700"/>
            </a:lvl1pPr>
          </a:lstStyle>
          <a:p>
            <a:r>
              <a:rPr lang="nb-NO" smtClean="0"/>
              <a:t>Klikk for å redigere tittelstil</a:t>
            </a:r>
            <a:endParaRPr lang="nb-NO"/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3887667" y="740570"/>
            <a:ext cx="4629150" cy="3655219"/>
          </a:xfrm>
        </p:spPr>
        <p:txBody>
          <a:bodyPr/>
          <a:lstStyle>
            <a:lvl1pPr>
              <a:defRPr sz="2700"/>
            </a:lvl1pPr>
            <a:lvl2pPr>
              <a:defRPr sz="2400"/>
            </a:lvl2pPr>
            <a:lvl3pPr>
              <a:defRPr sz="2000"/>
            </a:lvl3pPr>
            <a:lvl4pPr>
              <a:defRPr sz="1700"/>
            </a:lvl4pPr>
            <a:lvl5pPr>
              <a:defRPr sz="1700"/>
            </a:lvl5pPr>
            <a:lvl6pPr>
              <a:defRPr sz="1700"/>
            </a:lvl6pPr>
            <a:lvl7pPr>
              <a:defRPr sz="1700"/>
            </a:lvl7pPr>
            <a:lvl8pPr>
              <a:defRPr sz="1700"/>
            </a:lvl8pPr>
            <a:lvl9pPr>
              <a:defRPr sz="1700"/>
            </a:lvl9pPr>
          </a:lstStyle>
          <a:p>
            <a:pPr lvl="0"/>
            <a:r>
              <a:rPr lang="nb-NO" smtClean="0"/>
              <a:t>Klikk for å redigere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  <a:p>
            <a:pPr lvl="3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nb-NO"/>
          </a:p>
        </p:txBody>
      </p:sp>
      <p:sp>
        <p:nvSpPr>
          <p:cNvPr id="4" name="Plassholder for tekst 3"/>
          <p:cNvSpPr>
            <a:spLocks noGrp="1"/>
          </p:cNvSpPr>
          <p:nvPr>
            <p:ph type="body" sz="half" idx="2"/>
          </p:nvPr>
        </p:nvSpPr>
        <p:spPr>
          <a:xfrm>
            <a:off x="630115" y="1543051"/>
            <a:ext cx="2948354" cy="2858691"/>
          </a:xfrm>
        </p:spPr>
        <p:txBody>
          <a:bodyPr/>
          <a:lstStyle>
            <a:lvl1pPr marL="0" indent="0">
              <a:buNone/>
              <a:defRPr sz="1400"/>
            </a:lvl1pPr>
            <a:lvl2pPr marL="389582" indent="0">
              <a:buNone/>
              <a:defRPr sz="1200"/>
            </a:lvl2pPr>
            <a:lvl3pPr marL="779163" indent="0">
              <a:buNone/>
              <a:defRPr sz="1000"/>
            </a:lvl3pPr>
            <a:lvl4pPr marL="1168745" indent="0">
              <a:buNone/>
              <a:defRPr sz="900"/>
            </a:lvl4pPr>
            <a:lvl5pPr marL="1558326" indent="0">
              <a:buNone/>
              <a:defRPr sz="900"/>
            </a:lvl5pPr>
            <a:lvl6pPr marL="1947908" indent="0">
              <a:buNone/>
              <a:defRPr sz="900"/>
            </a:lvl6pPr>
            <a:lvl7pPr marL="2337489" indent="0">
              <a:buNone/>
              <a:defRPr sz="900"/>
            </a:lvl7pPr>
            <a:lvl8pPr marL="2727071" indent="0">
              <a:buNone/>
              <a:defRPr sz="900"/>
            </a:lvl8pPr>
            <a:lvl9pPr marL="3116652" indent="0">
              <a:buNone/>
              <a:defRPr sz="900"/>
            </a:lvl9pPr>
          </a:lstStyle>
          <a:p>
            <a:pPr lvl="0"/>
            <a:r>
              <a:rPr lang="nb-NO" smtClean="0"/>
              <a:t>Klikk for å redigere tekststiler i malen</a:t>
            </a:r>
          </a:p>
        </p:txBody>
      </p:sp>
      <p:sp>
        <p:nvSpPr>
          <p:cNvPr id="5" name="Plassholder for dato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buClr>
                <a:srgbClr val="44546A"/>
              </a:buClr>
            </a:pPr>
            <a:fld id="{57CDDEFD-23F0-42EB-B054-95271AF0C6FD}" type="datetimeFigureOut">
              <a:rPr lang="nb-NO" smtClean="0">
                <a:solidFill>
                  <a:prstClr val="black">
                    <a:tint val="75000"/>
                  </a:prstClr>
                </a:solidFill>
              </a:rPr>
              <a:pPr>
                <a:buClr>
                  <a:srgbClr val="44546A"/>
                </a:buClr>
              </a:pPr>
              <a:t>13.09.2015</a:t>
            </a:fld>
            <a:endParaRPr lang="nb-N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buClr>
                <a:srgbClr val="44546A"/>
              </a:buClr>
            </a:pPr>
            <a:endParaRPr lang="nb-N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buClr>
                <a:srgbClr val="44546A"/>
              </a:buClr>
            </a:pPr>
            <a:fld id="{1C4D0B95-3711-4744-9B0D-35971583D887}" type="slidenum">
              <a:rPr lang="nb-NO" smtClean="0">
                <a:solidFill>
                  <a:prstClr val="black">
                    <a:tint val="75000"/>
                  </a:prstClr>
                </a:solidFill>
              </a:rPr>
              <a:pPr>
                <a:buClr>
                  <a:srgbClr val="44546A"/>
                </a:buClr>
              </a:pPr>
              <a:t>‹#›</a:t>
            </a:fld>
            <a:endParaRPr lang="nb-NO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15299820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e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630115" y="342900"/>
            <a:ext cx="2948354" cy="1200150"/>
          </a:xfrm>
        </p:spPr>
        <p:txBody>
          <a:bodyPr anchor="b"/>
          <a:lstStyle>
            <a:lvl1pPr>
              <a:defRPr sz="2700"/>
            </a:lvl1pPr>
          </a:lstStyle>
          <a:p>
            <a:r>
              <a:rPr lang="nb-NO" smtClean="0"/>
              <a:t>Klikk for å redigere tittelstil</a:t>
            </a:r>
            <a:endParaRPr lang="nb-NO"/>
          </a:p>
        </p:txBody>
      </p:sp>
      <p:sp>
        <p:nvSpPr>
          <p:cNvPr id="3" name="Plassholder for bilde 2"/>
          <p:cNvSpPr>
            <a:spLocks noGrp="1"/>
          </p:cNvSpPr>
          <p:nvPr>
            <p:ph type="pic" idx="1"/>
          </p:nvPr>
        </p:nvSpPr>
        <p:spPr>
          <a:xfrm>
            <a:off x="3887667" y="740570"/>
            <a:ext cx="4629150" cy="3655219"/>
          </a:xfrm>
        </p:spPr>
        <p:txBody>
          <a:bodyPr/>
          <a:lstStyle>
            <a:lvl1pPr marL="0" indent="0">
              <a:buNone/>
              <a:defRPr sz="2700"/>
            </a:lvl1pPr>
            <a:lvl2pPr marL="389582" indent="0">
              <a:buNone/>
              <a:defRPr sz="2400"/>
            </a:lvl2pPr>
            <a:lvl3pPr marL="779163" indent="0">
              <a:buNone/>
              <a:defRPr sz="2000"/>
            </a:lvl3pPr>
            <a:lvl4pPr marL="1168745" indent="0">
              <a:buNone/>
              <a:defRPr sz="1700"/>
            </a:lvl4pPr>
            <a:lvl5pPr marL="1558326" indent="0">
              <a:buNone/>
              <a:defRPr sz="1700"/>
            </a:lvl5pPr>
            <a:lvl6pPr marL="1947908" indent="0">
              <a:buNone/>
              <a:defRPr sz="1700"/>
            </a:lvl6pPr>
            <a:lvl7pPr marL="2337489" indent="0">
              <a:buNone/>
              <a:defRPr sz="1700"/>
            </a:lvl7pPr>
            <a:lvl8pPr marL="2727071" indent="0">
              <a:buNone/>
              <a:defRPr sz="1700"/>
            </a:lvl8pPr>
            <a:lvl9pPr marL="3116652" indent="0">
              <a:buNone/>
              <a:defRPr sz="1700"/>
            </a:lvl9pPr>
          </a:lstStyle>
          <a:p>
            <a:endParaRPr lang="nb-NO"/>
          </a:p>
        </p:txBody>
      </p:sp>
      <p:sp>
        <p:nvSpPr>
          <p:cNvPr id="4" name="Plassholder for tekst 3"/>
          <p:cNvSpPr>
            <a:spLocks noGrp="1"/>
          </p:cNvSpPr>
          <p:nvPr>
            <p:ph type="body" sz="half" idx="2"/>
          </p:nvPr>
        </p:nvSpPr>
        <p:spPr>
          <a:xfrm>
            <a:off x="630115" y="1543051"/>
            <a:ext cx="2948354" cy="2858691"/>
          </a:xfrm>
        </p:spPr>
        <p:txBody>
          <a:bodyPr/>
          <a:lstStyle>
            <a:lvl1pPr marL="0" indent="0">
              <a:buNone/>
              <a:defRPr sz="1400"/>
            </a:lvl1pPr>
            <a:lvl2pPr marL="389582" indent="0">
              <a:buNone/>
              <a:defRPr sz="1200"/>
            </a:lvl2pPr>
            <a:lvl3pPr marL="779163" indent="0">
              <a:buNone/>
              <a:defRPr sz="1000"/>
            </a:lvl3pPr>
            <a:lvl4pPr marL="1168745" indent="0">
              <a:buNone/>
              <a:defRPr sz="900"/>
            </a:lvl4pPr>
            <a:lvl5pPr marL="1558326" indent="0">
              <a:buNone/>
              <a:defRPr sz="900"/>
            </a:lvl5pPr>
            <a:lvl6pPr marL="1947908" indent="0">
              <a:buNone/>
              <a:defRPr sz="900"/>
            </a:lvl6pPr>
            <a:lvl7pPr marL="2337489" indent="0">
              <a:buNone/>
              <a:defRPr sz="900"/>
            </a:lvl7pPr>
            <a:lvl8pPr marL="2727071" indent="0">
              <a:buNone/>
              <a:defRPr sz="900"/>
            </a:lvl8pPr>
            <a:lvl9pPr marL="3116652" indent="0">
              <a:buNone/>
              <a:defRPr sz="900"/>
            </a:lvl9pPr>
          </a:lstStyle>
          <a:p>
            <a:pPr lvl="0"/>
            <a:r>
              <a:rPr lang="nb-NO" smtClean="0"/>
              <a:t>Klikk for å redigere tekststiler i malen</a:t>
            </a:r>
          </a:p>
        </p:txBody>
      </p:sp>
      <p:sp>
        <p:nvSpPr>
          <p:cNvPr id="5" name="Plassholder for dato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buClr>
                <a:srgbClr val="44546A"/>
              </a:buClr>
            </a:pPr>
            <a:fld id="{57CDDEFD-23F0-42EB-B054-95271AF0C6FD}" type="datetimeFigureOut">
              <a:rPr lang="nb-NO" smtClean="0">
                <a:solidFill>
                  <a:prstClr val="black">
                    <a:tint val="75000"/>
                  </a:prstClr>
                </a:solidFill>
              </a:rPr>
              <a:pPr>
                <a:buClr>
                  <a:srgbClr val="44546A"/>
                </a:buClr>
              </a:pPr>
              <a:t>13.09.2015</a:t>
            </a:fld>
            <a:endParaRPr lang="nb-N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buClr>
                <a:srgbClr val="44546A"/>
              </a:buClr>
            </a:pPr>
            <a:endParaRPr lang="nb-N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buClr>
                <a:srgbClr val="44546A"/>
              </a:buClr>
            </a:pPr>
            <a:fld id="{1C4D0B95-3711-4744-9B0D-35971583D887}" type="slidenum">
              <a:rPr lang="nb-NO" smtClean="0">
                <a:solidFill>
                  <a:prstClr val="black">
                    <a:tint val="75000"/>
                  </a:prstClr>
                </a:solidFill>
              </a:rPr>
              <a:pPr>
                <a:buClr>
                  <a:srgbClr val="44546A"/>
                </a:buClr>
              </a:pPr>
              <a:t>‹#›</a:t>
            </a:fld>
            <a:endParaRPr lang="nb-NO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25065041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Loddrett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smtClean="0"/>
              <a:t>Klikk for å redigere tittelstil</a:t>
            </a:r>
            <a:endParaRPr lang="nb-NO"/>
          </a:p>
        </p:txBody>
      </p:sp>
      <p:sp>
        <p:nvSpPr>
          <p:cNvPr id="3" name="Plassholder for loddrett tekst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nb-NO" smtClean="0"/>
              <a:t>Klikk for å redigere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  <a:p>
            <a:pPr lvl="3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nb-NO"/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buClr>
                <a:srgbClr val="44546A"/>
              </a:buClr>
            </a:pPr>
            <a:fld id="{57CDDEFD-23F0-42EB-B054-95271AF0C6FD}" type="datetimeFigureOut">
              <a:rPr lang="nb-NO" smtClean="0">
                <a:solidFill>
                  <a:prstClr val="black">
                    <a:tint val="75000"/>
                  </a:prstClr>
                </a:solidFill>
              </a:rPr>
              <a:pPr>
                <a:buClr>
                  <a:srgbClr val="44546A"/>
                </a:buClr>
              </a:pPr>
              <a:t>13.09.2015</a:t>
            </a:fld>
            <a:endParaRPr lang="nb-N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buClr>
                <a:srgbClr val="44546A"/>
              </a:buClr>
            </a:pPr>
            <a:endParaRPr lang="nb-N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buClr>
                <a:srgbClr val="44546A"/>
              </a:buClr>
            </a:pPr>
            <a:fld id="{1C4D0B95-3711-4744-9B0D-35971583D887}" type="slidenum">
              <a:rPr lang="nb-NO" smtClean="0">
                <a:solidFill>
                  <a:prstClr val="black">
                    <a:tint val="75000"/>
                  </a:prstClr>
                </a:solidFill>
              </a:rPr>
              <a:pPr>
                <a:buClr>
                  <a:srgbClr val="44546A"/>
                </a:buClr>
              </a:pPr>
              <a:t>‹#›</a:t>
            </a:fld>
            <a:endParaRPr lang="nb-NO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4141710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tellysbilde #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Bilde 8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9054"/>
          <a:stretch/>
        </p:blipFill>
        <p:spPr>
          <a:xfrm>
            <a:off x="-4984" y="3510645"/>
            <a:ext cx="9144000" cy="1632856"/>
          </a:xfrm>
          <a:prstGeom prst="rect">
            <a:avLst/>
          </a:prstGeom>
          <a:solidFill>
            <a:schemeClr val="accent2"/>
          </a:solidFill>
        </p:spPr>
      </p:pic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685800" y="3763185"/>
            <a:ext cx="7772400" cy="402279"/>
          </a:xfrm>
        </p:spPr>
        <p:txBody>
          <a:bodyPr>
            <a:spAutoFit/>
          </a:bodyPr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nb-NO" smtClean="0"/>
              <a:t>Klikk for å redigere tittelstil</a:t>
            </a:r>
            <a:endParaRPr lang="nb-NO" dirty="0"/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685800" y="4139618"/>
            <a:ext cx="7772400" cy="279168"/>
          </a:xfrm>
        </p:spPr>
        <p:txBody>
          <a:bodyPr wrap="square">
            <a:spAutoFit/>
          </a:bodyPr>
          <a:lstStyle>
            <a:lvl1pPr marL="0" indent="0" algn="l">
              <a:buNone/>
              <a:defRPr>
                <a:solidFill>
                  <a:schemeClr val="bg1"/>
                </a:solidFill>
              </a:defRPr>
            </a:lvl1pPr>
            <a:lvl2pPr marL="4571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29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5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7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8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03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1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b-NO" smtClean="0"/>
              <a:t>Klikk for å redigere undertittelstil i malen</a:t>
            </a:r>
            <a:endParaRPr lang="nb-NO" dirty="0"/>
          </a:p>
        </p:txBody>
      </p:sp>
      <p:sp>
        <p:nvSpPr>
          <p:cNvPr id="13" name="Plassholder for bilde 2"/>
          <p:cNvSpPr>
            <a:spLocks noGrp="1"/>
          </p:cNvSpPr>
          <p:nvPr>
            <p:ph type="pic" idx="10"/>
          </p:nvPr>
        </p:nvSpPr>
        <p:spPr>
          <a:xfrm>
            <a:off x="0" y="1979"/>
            <a:ext cx="9144000" cy="3131815"/>
          </a:xfrm>
        </p:spPr>
        <p:txBody>
          <a:bodyPr/>
          <a:lstStyle>
            <a:lvl1pPr marL="0" indent="0">
              <a:buNone/>
              <a:defRPr sz="3200"/>
            </a:lvl1pPr>
            <a:lvl2pPr marL="457148" indent="0">
              <a:buNone/>
              <a:defRPr sz="2800"/>
            </a:lvl2pPr>
            <a:lvl3pPr marL="914296" indent="0">
              <a:buNone/>
              <a:defRPr sz="2400"/>
            </a:lvl3pPr>
            <a:lvl4pPr marL="1371444" indent="0">
              <a:buNone/>
              <a:defRPr sz="2000"/>
            </a:lvl4pPr>
            <a:lvl5pPr marL="1828592" indent="0">
              <a:buNone/>
              <a:defRPr sz="2000"/>
            </a:lvl5pPr>
            <a:lvl6pPr marL="2285740" indent="0">
              <a:buNone/>
              <a:defRPr sz="2000"/>
            </a:lvl6pPr>
            <a:lvl7pPr marL="2742888" indent="0">
              <a:buNone/>
              <a:defRPr sz="2000"/>
            </a:lvl7pPr>
            <a:lvl8pPr marL="3200036" indent="0">
              <a:buNone/>
              <a:defRPr sz="2000"/>
            </a:lvl8pPr>
            <a:lvl9pPr marL="3657184" indent="0">
              <a:buNone/>
              <a:defRPr sz="2000"/>
            </a:lvl9pPr>
          </a:lstStyle>
          <a:p>
            <a:r>
              <a:rPr lang="nb-NO" smtClean="0"/>
              <a:t>Klikk ikonet for å legge til et bilde</a:t>
            </a:r>
            <a:endParaRPr lang="nb-NO" dirty="0"/>
          </a:p>
        </p:txBody>
      </p:sp>
      <p:pic>
        <p:nvPicPr>
          <p:cNvPr id="7" name="Bilde 6"/>
          <p:cNvPicPr>
            <a:picLocks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7806" y="3208560"/>
            <a:ext cx="1682357" cy="228581"/>
          </a:xfrm>
          <a:prstGeom prst="rect">
            <a:avLst/>
          </a:prstGeom>
        </p:spPr>
      </p:pic>
      <p:sp>
        <p:nvSpPr>
          <p:cNvPr id="8" name="Plassholder for tekst 4"/>
          <p:cNvSpPr>
            <a:spLocks noGrp="1"/>
          </p:cNvSpPr>
          <p:nvPr>
            <p:ph type="body" sz="quarter" idx="11" hasCustomPrompt="1"/>
          </p:nvPr>
        </p:nvSpPr>
        <p:spPr>
          <a:xfrm>
            <a:off x="685721" y="4804010"/>
            <a:ext cx="7772479" cy="309946"/>
          </a:xfrm>
        </p:spPr>
        <p:txBody>
          <a:bodyPr wrap="square" anchor="b" anchorCtr="0">
            <a:sp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nb-NO" smtClean="0"/>
              <a:t>Sted, dato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931311302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Loddrett tittel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oddrett tittel 1"/>
          <p:cNvSpPr>
            <a:spLocks noGrp="1"/>
          </p:cNvSpPr>
          <p:nvPr>
            <p:ph type="title" orient="vert"/>
          </p:nvPr>
        </p:nvSpPr>
        <p:spPr>
          <a:xfrm>
            <a:off x="6544409" y="273845"/>
            <a:ext cx="1970943" cy="4358879"/>
          </a:xfrm>
        </p:spPr>
        <p:txBody>
          <a:bodyPr vert="eaVert"/>
          <a:lstStyle/>
          <a:p>
            <a:r>
              <a:rPr lang="nb-NO" smtClean="0"/>
              <a:t>Klikk for å redigere tittelstil</a:t>
            </a:r>
            <a:endParaRPr lang="nb-NO"/>
          </a:p>
        </p:txBody>
      </p:sp>
      <p:sp>
        <p:nvSpPr>
          <p:cNvPr id="3" name="Plassholder for loddrett tekst 2"/>
          <p:cNvSpPr>
            <a:spLocks noGrp="1"/>
          </p:cNvSpPr>
          <p:nvPr>
            <p:ph type="body" orient="vert" idx="1"/>
          </p:nvPr>
        </p:nvSpPr>
        <p:spPr>
          <a:xfrm>
            <a:off x="628651" y="273845"/>
            <a:ext cx="5775080" cy="4358879"/>
          </a:xfrm>
        </p:spPr>
        <p:txBody>
          <a:bodyPr vert="eaVert"/>
          <a:lstStyle/>
          <a:p>
            <a:pPr lvl="0"/>
            <a:r>
              <a:rPr lang="nb-NO" smtClean="0"/>
              <a:t>Klikk for å redigere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  <a:p>
            <a:pPr lvl="3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nb-NO"/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buClr>
                <a:srgbClr val="44546A"/>
              </a:buClr>
            </a:pPr>
            <a:fld id="{57CDDEFD-23F0-42EB-B054-95271AF0C6FD}" type="datetimeFigureOut">
              <a:rPr lang="nb-NO" smtClean="0">
                <a:solidFill>
                  <a:prstClr val="black">
                    <a:tint val="75000"/>
                  </a:prstClr>
                </a:solidFill>
              </a:rPr>
              <a:pPr>
                <a:buClr>
                  <a:srgbClr val="44546A"/>
                </a:buClr>
              </a:pPr>
              <a:t>13.09.2015</a:t>
            </a:fld>
            <a:endParaRPr lang="nb-N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buClr>
                <a:srgbClr val="44546A"/>
              </a:buClr>
            </a:pPr>
            <a:endParaRPr lang="nb-N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buClr>
                <a:srgbClr val="44546A"/>
              </a:buClr>
            </a:pPr>
            <a:fld id="{1C4D0B95-3711-4744-9B0D-35971583D887}" type="slidenum">
              <a:rPr lang="nb-NO" smtClean="0">
                <a:solidFill>
                  <a:prstClr val="black">
                    <a:tint val="75000"/>
                  </a:prstClr>
                </a:solidFill>
              </a:rPr>
              <a:pPr>
                <a:buClr>
                  <a:srgbClr val="44546A"/>
                </a:buClr>
              </a:pPr>
              <a:t>‹#›</a:t>
            </a:fld>
            <a:endParaRPr lang="nb-NO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38328131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tellys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1143000" y="841772"/>
            <a:ext cx="6858000" cy="1790700"/>
          </a:xfrm>
        </p:spPr>
        <p:txBody>
          <a:bodyPr anchor="b"/>
          <a:lstStyle>
            <a:lvl1pPr algn="ctr">
              <a:defRPr sz="5100"/>
            </a:lvl1pPr>
          </a:lstStyle>
          <a:p>
            <a:r>
              <a:rPr lang="nb-NO" smtClean="0"/>
              <a:t>Klikk for å redigere tittelstil</a:t>
            </a:r>
            <a:endParaRPr lang="nb-NO"/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1143000" y="2701528"/>
            <a:ext cx="6858000" cy="1241822"/>
          </a:xfrm>
        </p:spPr>
        <p:txBody>
          <a:bodyPr/>
          <a:lstStyle>
            <a:lvl1pPr marL="0" indent="0" algn="ctr">
              <a:buNone/>
              <a:defRPr sz="2000"/>
            </a:lvl1pPr>
            <a:lvl2pPr marL="389626" indent="0" algn="ctr">
              <a:buNone/>
              <a:defRPr sz="1700"/>
            </a:lvl2pPr>
            <a:lvl3pPr marL="779252" indent="0" algn="ctr">
              <a:buNone/>
              <a:defRPr sz="1500"/>
            </a:lvl3pPr>
            <a:lvl4pPr marL="1168878" indent="0" algn="ctr">
              <a:buNone/>
              <a:defRPr sz="1400"/>
            </a:lvl4pPr>
            <a:lvl5pPr marL="1558503" indent="0" algn="ctr">
              <a:buNone/>
              <a:defRPr sz="1400"/>
            </a:lvl5pPr>
            <a:lvl6pPr marL="1948129" indent="0" algn="ctr">
              <a:buNone/>
              <a:defRPr sz="1400"/>
            </a:lvl6pPr>
            <a:lvl7pPr marL="2337755" indent="0" algn="ctr">
              <a:buNone/>
              <a:defRPr sz="1400"/>
            </a:lvl7pPr>
            <a:lvl8pPr marL="2727381" indent="0" algn="ctr">
              <a:buNone/>
              <a:defRPr sz="1400"/>
            </a:lvl8pPr>
            <a:lvl9pPr marL="3117007" indent="0" algn="ctr">
              <a:buNone/>
              <a:defRPr sz="1400"/>
            </a:lvl9pPr>
          </a:lstStyle>
          <a:p>
            <a:r>
              <a:rPr lang="nb-NO" smtClean="0"/>
              <a:t>Klikk for å redigere undertittelstil i malen</a:t>
            </a:r>
            <a:endParaRPr lang="nb-NO"/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buClr>
                <a:srgbClr val="44546A"/>
              </a:buClr>
            </a:pPr>
            <a:fld id="{57CDDEFD-23F0-42EB-B054-95271AF0C6FD}" type="datetimeFigureOut">
              <a:rPr lang="nb-NO" smtClean="0">
                <a:solidFill>
                  <a:prstClr val="black">
                    <a:tint val="75000"/>
                  </a:prstClr>
                </a:solidFill>
              </a:rPr>
              <a:pPr>
                <a:buClr>
                  <a:srgbClr val="44546A"/>
                </a:buClr>
              </a:pPr>
              <a:t>13.09.2015</a:t>
            </a:fld>
            <a:endParaRPr lang="nb-N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buClr>
                <a:srgbClr val="44546A"/>
              </a:buClr>
            </a:pPr>
            <a:endParaRPr lang="nb-N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buClr>
                <a:srgbClr val="44546A"/>
              </a:buClr>
            </a:pPr>
            <a:fld id="{1C4D0B95-3711-4744-9B0D-35971583D887}" type="slidenum">
              <a:rPr lang="nb-NO" smtClean="0">
                <a:solidFill>
                  <a:prstClr val="black">
                    <a:tint val="75000"/>
                  </a:prstClr>
                </a:solidFill>
              </a:rPr>
              <a:pPr>
                <a:buClr>
                  <a:srgbClr val="44546A"/>
                </a:buClr>
              </a:pPr>
              <a:t>‹#›</a:t>
            </a:fld>
            <a:endParaRPr lang="nb-NO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3092328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628651" y="273844"/>
            <a:ext cx="6835502" cy="684944"/>
          </a:xfrm>
        </p:spPr>
        <p:txBody>
          <a:bodyPr>
            <a:normAutofit/>
          </a:bodyPr>
          <a:lstStyle>
            <a:lvl1pPr>
              <a:defRPr sz="2400" b="1">
                <a:solidFill>
                  <a:srgbClr val="7030A0"/>
                </a:solidFill>
                <a:latin typeface="+mn-lt"/>
              </a:defRPr>
            </a:lvl1pPr>
          </a:lstStyle>
          <a:p>
            <a:r>
              <a:rPr lang="nb-NO" smtClean="0"/>
              <a:t>Klikk for å redigere tittelstil</a:t>
            </a:r>
            <a:endParaRPr lang="nb-NO"/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628650" y="1111929"/>
            <a:ext cx="8106977" cy="3329126"/>
          </a:xfrm>
        </p:spPr>
        <p:txBody>
          <a:bodyPr>
            <a:normAutofit/>
          </a:bodyPr>
          <a:lstStyle>
            <a:lvl1pPr>
              <a:defRPr sz="1700"/>
            </a:lvl1pPr>
            <a:lvl2pPr>
              <a:defRPr sz="15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nb-NO" dirty="0" smtClean="0"/>
              <a:t>Klikk for å redigere tekststiler i malen</a:t>
            </a:r>
          </a:p>
          <a:p>
            <a:pPr lvl="1"/>
            <a:r>
              <a:rPr lang="nb-NO" dirty="0" smtClean="0"/>
              <a:t>Andre nivå</a:t>
            </a:r>
          </a:p>
          <a:p>
            <a:pPr lvl="2"/>
            <a:r>
              <a:rPr lang="nb-NO" dirty="0" smtClean="0"/>
              <a:t>Tredje nivå</a:t>
            </a:r>
          </a:p>
          <a:p>
            <a:pPr lvl="3"/>
            <a:r>
              <a:rPr lang="nb-NO" dirty="0" smtClean="0"/>
              <a:t>Fjerde nivå</a:t>
            </a:r>
          </a:p>
          <a:p>
            <a:pPr lvl="4"/>
            <a:r>
              <a:rPr lang="nb-NO" dirty="0" smtClean="0"/>
              <a:t>Femte nivå</a:t>
            </a:r>
            <a:endParaRPr lang="nb-NO" dirty="0"/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>
          <a:xfrm>
            <a:off x="628651" y="4767263"/>
            <a:ext cx="1642459" cy="273844"/>
          </a:xfrm>
        </p:spPr>
        <p:txBody>
          <a:bodyPr/>
          <a:lstStyle/>
          <a:p>
            <a:pPr>
              <a:buClr>
                <a:srgbClr val="44546A"/>
              </a:buClr>
            </a:pPr>
            <a:fld id="{57CDDEFD-23F0-42EB-B054-95271AF0C6FD}" type="datetimeFigureOut">
              <a:rPr lang="nb-NO" smtClean="0">
                <a:solidFill>
                  <a:prstClr val="black">
                    <a:tint val="75000"/>
                  </a:prstClr>
                </a:solidFill>
              </a:rPr>
              <a:pPr>
                <a:buClr>
                  <a:srgbClr val="44546A"/>
                </a:buClr>
              </a:pPr>
              <a:t>13.09.2015</a:t>
            </a:fld>
            <a:endParaRPr lang="nb-N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buClr>
                <a:srgbClr val="44546A"/>
              </a:buClr>
            </a:pPr>
            <a:endParaRPr lang="nb-N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>
          <a:xfrm>
            <a:off x="8178383" y="4767263"/>
            <a:ext cx="566425" cy="273844"/>
          </a:xfrm>
        </p:spPr>
        <p:txBody>
          <a:bodyPr/>
          <a:lstStyle/>
          <a:p>
            <a:pPr>
              <a:buClr>
                <a:srgbClr val="44546A"/>
              </a:buClr>
            </a:pPr>
            <a:fld id="{1C4D0B95-3711-4744-9B0D-35971583D887}" type="slidenum">
              <a:rPr lang="nb-NO" smtClean="0">
                <a:solidFill>
                  <a:prstClr val="black">
                    <a:tint val="75000"/>
                  </a:prstClr>
                </a:solidFill>
              </a:rPr>
              <a:pPr>
                <a:buClr>
                  <a:srgbClr val="44546A"/>
                </a:buClr>
              </a:pPr>
              <a:t>‹#›</a:t>
            </a:fld>
            <a:endParaRPr lang="nb-NO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7" name="Bilde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74924" y="4686022"/>
            <a:ext cx="295209" cy="373832"/>
          </a:xfrm>
          <a:prstGeom prst="rect">
            <a:avLst/>
          </a:prstGeom>
        </p:spPr>
      </p:pic>
      <p:pic>
        <p:nvPicPr>
          <p:cNvPr id="8" name="Bilde 7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82662" y="4834363"/>
            <a:ext cx="800411" cy="233068"/>
          </a:xfrm>
          <a:prstGeom prst="rect">
            <a:avLst/>
          </a:prstGeom>
        </p:spPr>
      </p:pic>
      <p:pic>
        <p:nvPicPr>
          <p:cNvPr id="9" name="Bilde 8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34681" y="4740938"/>
            <a:ext cx="1109247" cy="333152"/>
          </a:xfrm>
          <a:prstGeom prst="rect">
            <a:avLst/>
          </a:prstGeom>
        </p:spPr>
      </p:pic>
      <p:pic>
        <p:nvPicPr>
          <p:cNvPr id="10" name="Bilde 9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04829" y="273844"/>
            <a:ext cx="1130798" cy="4718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983291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Del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624254" y="1282304"/>
            <a:ext cx="7886700" cy="2139553"/>
          </a:xfrm>
        </p:spPr>
        <p:txBody>
          <a:bodyPr anchor="b"/>
          <a:lstStyle>
            <a:lvl1pPr>
              <a:defRPr sz="5100"/>
            </a:lvl1pPr>
          </a:lstStyle>
          <a:p>
            <a:r>
              <a:rPr lang="nb-NO" smtClean="0"/>
              <a:t>Klikk for å redigere tittelstil</a:t>
            </a:r>
            <a:endParaRPr lang="nb-NO"/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624254" y="3442098"/>
            <a:ext cx="7886700" cy="1125140"/>
          </a:xfrm>
        </p:spPr>
        <p:txBody>
          <a:bodyPr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389626" indent="0">
              <a:buNone/>
              <a:defRPr sz="1700">
                <a:solidFill>
                  <a:schemeClr val="tx1">
                    <a:tint val="75000"/>
                  </a:schemeClr>
                </a:solidFill>
              </a:defRPr>
            </a:lvl2pPr>
            <a:lvl3pPr marL="779252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3pPr>
            <a:lvl4pPr marL="1168878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558503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1948129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337755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2727381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117007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 smtClean="0"/>
              <a:t>Klikk for å redigere tekststiler i malen</a:t>
            </a: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buClr>
                <a:srgbClr val="44546A"/>
              </a:buClr>
            </a:pPr>
            <a:fld id="{57CDDEFD-23F0-42EB-B054-95271AF0C6FD}" type="datetimeFigureOut">
              <a:rPr lang="nb-NO" smtClean="0">
                <a:solidFill>
                  <a:prstClr val="black">
                    <a:tint val="75000"/>
                  </a:prstClr>
                </a:solidFill>
              </a:rPr>
              <a:pPr>
                <a:buClr>
                  <a:srgbClr val="44546A"/>
                </a:buClr>
              </a:pPr>
              <a:t>13.09.2015</a:t>
            </a:fld>
            <a:endParaRPr lang="nb-N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buClr>
                <a:srgbClr val="44546A"/>
              </a:buClr>
            </a:pPr>
            <a:endParaRPr lang="nb-N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buClr>
                <a:srgbClr val="44546A"/>
              </a:buClr>
            </a:pPr>
            <a:fld id="{1C4D0B95-3711-4744-9B0D-35971583D887}" type="slidenum">
              <a:rPr lang="nb-NO" smtClean="0">
                <a:solidFill>
                  <a:prstClr val="black">
                    <a:tint val="75000"/>
                  </a:prstClr>
                </a:solidFill>
              </a:rPr>
              <a:pPr>
                <a:buClr>
                  <a:srgbClr val="44546A"/>
                </a:buClr>
              </a:pPr>
              <a:t>‹#›</a:t>
            </a:fld>
            <a:endParaRPr lang="nb-NO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05992233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smtClean="0"/>
              <a:t>Klikk for å redigere tittelstil</a:t>
            </a:r>
            <a:endParaRPr lang="nb-NO"/>
          </a:p>
        </p:txBody>
      </p:sp>
      <p:sp>
        <p:nvSpPr>
          <p:cNvPr id="3" name="Plassholder for innhold 2"/>
          <p:cNvSpPr>
            <a:spLocks noGrp="1"/>
          </p:cNvSpPr>
          <p:nvPr>
            <p:ph sz="half" idx="1"/>
          </p:nvPr>
        </p:nvSpPr>
        <p:spPr>
          <a:xfrm>
            <a:off x="628651" y="1369219"/>
            <a:ext cx="3873011" cy="3263504"/>
          </a:xfrm>
        </p:spPr>
        <p:txBody>
          <a:bodyPr/>
          <a:lstStyle/>
          <a:p>
            <a:pPr lvl="0"/>
            <a:r>
              <a:rPr lang="nb-NO" smtClean="0"/>
              <a:t>Klikk for å redigere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  <a:p>
            <a:pPr lvl="3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nb-NO"/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4642339" y="1369219"/>
            <a:ext cx="3873012" cy="3263504"/>
          </a:xfrm>
        </p:spPr>
        <p:txBody>
          <a:bodyPr/>
          <a:lstStyle/>
          <a:p>
            <a:pPr lvl="0"/>
            <a:r>
              <a:rPr lang="nb-NO" smtClean="0"/>
              <a:t>Klikk for å redigere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  <a:p>
            <a:pPr lvl="3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nb-NO"/>
          </a:p>
        </p:txBody>
      </p:sp>
      <p:sp>
        <p:nvSpPr>
          <p:cNvPr id="5" name="Plassholder for dato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buClr>
                <a:srgbClr val="44546A"/>
              </a:buClr>
            </a:pPr>
            <a:fld id="{57CDDEFD-23F0-42EB-B054-95271AF0C6FD}" type="datetimeFigureOut">
              <a:rPr lang="nb-NO" smtClean="0">
                <a:solidFill>
                  <a:prstClr val="black">
                    <a:tint val="75000"/>
                  </a:prstClr>
                </a:solidFill>
              </a:rPr>
              <a:pPr>
                <a:buClr>
                  <a:srgbClr val="44546A"/>
                </a:buClr>
              </a:pPr>
              <a:t>13.09.2015</a:t>
            </a:fld>
            <a:endParaRPr lang="nb-N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buClr>
                <a:srgbClr val="44546A"/>
              </a:buClr>
            </a:pPr>
            <a:endParaRPr lang="nb-N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buClr>
                <a:srgbClr val="44546A"/>
              </a:buClr>
            </a:pPr>
            <a:fld id="{1C4D0B95-3711-4744-9B0D-35971583D887}" type="slidenum">
              <a:rPr lang="nb-NO" smtClean="0">
                <a:solidFill>
                  <a:prstClr val="black">
                    <a:tint val="75000"/>
                  </a:prstClr>
                </a:solidFill>
              </a:rPr>
              <a:pPr>
                <a:buClr>
                  <a:srgbClr val="44546A"/>
                </a:buClr>
              </a:pPr>
              <a:t>‹#›</a:t>
            </a:fld>
            <a:endParaRPr lang="nb-NO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7096852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630116" y="273844"/>
            <a:ext cx="7886700" cy="994172"/>
          </a:xfrm>
        </p:spPr>
        <p:txBody>
          <a:bodyPr/>
          <a:lstStyle/>
          <a:p>
            <a:r>
              <a:rPr lang="nb-NO" smtClean="0"/>
              <a:t>Klikk for å redigere tittelstil</a:t>
            </a:r>
            <a:endParaRPr lang="nb-NO"/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630116" y="1260872"/>
            <a:ext cx="3868615" cy="617934"/>
          </a:xfrm>
        </p:spPr>
        <p:txBody>
          <a:bodyPr anchor="b"/>
          <a:lstStyle>
            <a:lvl1pPr marL="0" indent="0">
              <a:buNone/>
              <a:defRPr sz="2000" b="1"/>
            </a:lvl1pPr>
            <a:lvl2pPr marL="389626" indent="0">
              <a:buNone/>
              <a:defRPr sz="1700" b="1"/>
            </a:lvl2pPr>
            <a:lvl3pPr marL="779252" indent="0">
              <a:buNone/>
              <a:defRPr sz="1500" b="1"/>
            </a:lvl3pPr>
            <a:lvl4pPr marL="1168878" indent="0">
              <a:buNone/>
              <a:defRPr sz="1400" b="1"/>
            </a:lvl4pPr>
            <a:lvl5pPr marL="1558503" indent="0">
              <a:buNone/>
              <a:defRPr sz="1400" b="1"/>
            </a:lvl5pPr>
            <a:lvl6pPr marL="1948129" indent="0">
              <a:buNone/>
              <a:defRPr sz="1400" b="1"/>
            </a:lvl6pPr>
            <a:lvl7pPr marL="2337755" indent="0">
              <a:buNone/>
              <a:defRPr sz="1400" b="1"/>
            </a:lvl7pPr>
            <a:lvl8pPr marL="2727381" indent="0">
              <a:buNone/>
              <a:defRPr sz="1400" b="1"/>
            </a:lvl8pPr>
            <a:lvl9pPr marL="3117007" indent="0">
              <a:buNone/>
              <a:defRPr sz="1400" b="1"/>
            </a:lvl9pPr>
          </a:lstStyle>
          <a:p>
            <a:pPr lvl="0"/>
            <a:r>
              <a:rPr lang="nb-NO" smtClean="0"/>
              <a:t>Klikk for å redigere tekststiler i malen</a:t>
            </a:r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630116" y="1878806"/>
            <a:ext cx="3868615" cy="2763441"/>
          </a:xfrm>
        </p:spPr>
        <p:txBody>
          <a:bodyPr/>
          <a:lstStyle/>
          <a:p>
            <a:pPr lvl="0"/>
            <a:r>
              <a:rPr lang="nb-NO" smtClean="0"/>
              <a:t>Klikk for å redigere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  <a:p>
            <a:pPr lvl="3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nb-NO"/>
          </a:p>
        </p:txBody>
      </p:sp>
      <p:sp>
        <p:nvSpPr>
          <p:cNvPr id="5" name="Plassholder for tekst 4"/>
          <p:cNvSpPr>
            <a:spLocks noGrp="1"/>
          </p:cNvSpPr>
          <p:nvPr>
            <p:ph type="body" sz="quarter" idx="3"/>
          </p:nvPr>
        </p:nvSpPr>
        <p:spPr>
          <a:xfrm>
            <a:off x="4629151" y="1260872"/>
            <a:ext cx="3887665" cy="617934"/>
          </a:xfrm>
        </p:spPr>
        <p:txBody>
          <a:bodyPr anchor="b"/>
          <a:lstStyle>
            <a:lvl1pPr marL="0" indent="0">
              <a:buNone/>
              <a:defRPr sz="2000" b="1"/>
            </a:lvl1pPr>
            <a:lvl2pPr marL="389626" indent="0">
              <a:buNone/>
              <a:defRPr sz="1700" b="1"/>
            </a:lvl2pPr>
            <a:lvl3pPr marL="779252" indent="0">
              <a:buNone/>
              <a:defRPr sz="1500" b="1"/>
            </a:lvl3pPr>
            <a:lvl4pPr marL="1168878" indent="0">
              <a:buNone/>
              <a:defRPr sz="1400" b="1"/>
            </a:lvl4pPr>
            <a:lvl5pPr marL="1558503" indent="0">
              <a:buNone/>
              <a:defRPr sz="1400" b="1"/>
            </a:lvl5pPr>
            <a:lvl6pPr marL="1948129" indent="0">
              <a:buNone/>
              <a:defRPr sz="1400" b="1"/>
            </a:lvl6pPr>
            <a:lvl7pPr marL="2337755" indent="0">
              <a:buNone/>
              <a:defRPr sz="1400" b="1"/>
            </a:lvl7pPr>
            <a:lvl8pPr marL="2727381" indent="0">
              <a:buNone/>
              <a:defRPr sz="1400" b="1"/>
            </a:lvl8pPr>
            <a:lvl9pPr marL="3117007" indent="0">
              <a:buNone/>
              <a:defRPr sz="1400" b="1"/>
            </a:lvl9pPr>
          </a:lstStyle>
          <a:p>
            <a:pPr lvl="0"/>
            <a:r>
              <a:rPr lang="nb-NO" smtClean="0"/>
              <a:t>Klikk for å redigere tekststiler i malen</a:t>
            </a:r>
          </a:p>
        </p:txBody>
      </p:sp>
      <p:sp>
        <p:nvSpPr>
          <p:cNvPr id="6" name="Plassholder for innhold 5"/>
          <p:cNvSpPr>
            <a:spLocks noGrp="1"/>
          </p:cNvSpPr>
          <p:nvPr>
            <p:ph sz="quarter" idx="4"/>
          </p:nvPr>
        </p:nvSpPr>
        <p:spPr>
          <a:xfrm>
            <a:off x="4629151" y="1878806"/>
            <a:ext cx="3887665" cy="2763441"/>
          </a:xfrm>
        </p:spPr>
        <p:txBody>
          <a:bodyPr/>
          <a:lstStyle/>
          <a:p>
            <a:pPr lvl="0"/>
            <a:r>
              <a:rPr lang="nb-NO" smtClean="0"/>
              <a:t>Klikk for å redigere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  <a:p>
            <a:pPr lvl="3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nb-NO"/>
          </a:p>
        </p:txBody>
      </p:sp>
      <p:sp>
        <p:nvSpPr>
          <p:cNvPr id="7" name="Plassholder for dato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buClr>
                <a:srgbClr val="44546A"/>
              </a:buClr>
            </a:pPr>
            <a:fld id="{57CDDEFD-23F0-42EB-B054-95271AF0C6FD}" type="datetimeFigureOut">
              <a:rPr lang="nb-NO" smtClean="0">
                <a:solidFill>
                  <a:prstClr val="black">
                    <a:tint val="75000"/>
                  </a:prstClr>
                </a:solidFill>
              </a:rPr>
              <a:pPr>
                <a:buClr>
                  <a:srgbClr val="44546A"/>
                </a:buClr>
              </a:pPr>
              <a:t>13.09.2015</a:t>
            </a:fld>
            <a:endParaRPr lang="nb-N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Plassholder for bunntekst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buClr>
                <a:srgbClr val="44546A"/>
              </a:buClr>
            </a:pPr>
            <a:endParaRPr lang="nb-N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Plassholder for lysbildenumm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buClr>
                <a:srgbClr val="44546A"/>
              </a:buClr>
            </a:pPr>
            <a:fld id="{1C4D0B95-3711-4744-9B0D-35971583D887}" type="slidenum">
              <a:rPr lang="nb-NO" smtClean="0">
                <a:solidFill>
                  <a:prstClr val="black">
                    <a:tint val="75000"/>
                  </a:prstClr>
                </a:solidFill>
              </a:rPr>
              <a:pPr>
                <a:buClr>
                  <a:srgbClr val="44546A"/>
                </a:buClr>
              </a:pPr>
              <a:t>‹#›</a:t>
            </a:fld>
            <a:endParaRPr lang="nb-NO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24268023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smtClean="0"/>
              <a:t>Klikk for å redigere tittelstil</a:t>
            </a:r>
            <a:endParaRPr lang="nb-NO"/>
          </a:p>
        </p:txBody>
      </p:sp>
      <p:sp>
        <p:nvSpPr>
          <p:cNvPr id="3" name="Plassholder for dato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buClr>
                <a:srgbClr val="44546A"/>
              </a:buClr>
            </a:pPr>
            <a:fld id="{57CDDEFD-23F0-42EB-B054-95271AF0C6FD}" type="datetimeFigureOut">
              <a:rPr lang="nb-NO" smtClean="0">
                <a:solidFill>
                  <a:prstClr val="black">
                    <a:tint val="75000"/>
                  </a:prstClr>
                </a:solidFill>
              </a:rPr>
              <a:pPr>
                <a:buClr>
                  <a:srgbClr val="44546A"/>
                </a:buClr>
              </a:pPr>
              <a:t>13.09.2015</a:t>
            </a:fld>
            <a:endParaRPr lang="nb-N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Plassholder for bunntekst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buClr>
                <a:srgbClr val="44546A"/>
              </a:buClr>
            </a:pPr>
            <a:endParaRPr lang="nb-N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Plassholder for lysbilde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buClr>
                <a:srgbClr val="44546A"/>
              </a:buClr>
            </a:pPr>
            <a:fld id="{1C4D0B95-3711-4744-9B0D-35971583D887}" type="slidenum">
              <a:rPr lang="nb-NO" smtClean="0">
                <a:solidFill>
                  <a:prstClr val="black">
                    <a:tint val="75000"/>
                  </a:prstClr>
                </a:solidFill>
              </a:rPr>
              <a:pPr>
                <a:buClr>
                  <a:srgbClr val="44546A"/>
                </a:buClr>
              </a:pPr>
              <a:t>‹#›</a:t>
            </a:fld>
            <a:endParaRPr lang="nb-NO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6586638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dato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buClr>
                <a:srgbClr val="44546A"/>
              </a:buClr>
            </a:pPr>
            <a:fld id="{57CDDEFD-23F0-42EB-B054-95271AF0C6FD}" type="datetimeFigureOut">
              <a:rPr lang="nb-NO" smtClean="0">
                <a:solidFill>
                  <a:prstClr val="black">
                    <a:tint val="75000"/>
                  </a:prstClr>
                </a:solidFill>
              </a:rPr>
              <a:pPr>
                <a:buClr>
                  <a:srgbClr val="44546A"/>
                </a:buClr>
              </a:pPr>
              <a:t>13.09.2015</a:t>
            </a:fld>
            <a:endParaRPr lang="nb-N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Plassholder for bunntekst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buClr>
                <a:srgbClr val="44546A"/>
              </a:buClr>
            </a:pPr>
            <a:endParaRPr lang="nb-N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buClr>
                <a:srgbClr val="44546A"/>
              </a:buClr>
            </a:pPr>
            <a:fld id="{1C4D0B95-3711-4744-9B0D-35971583D887}" type="slidenum">
              <a:rPr lang="nb-NO" smtClean="0">
                <a:solidFill>
                  <a:prstClr val="black">
                    <a:tint val="75000"/>
                  </a:prstClr>
                </a:solidFill>
              </a:rPr>
              <a:pPr>
                <a:buClr>
                  <a:srgbClr val="44546A"/>
                </a:buClr>
              </a:pPr>
              <a:t>‹#›</a:t>
            </a:fld>
            <a:endParaRPr lang="nb-NO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72743243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nhold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630115" y="342900"/>
            <a:ext cx="2948354" cy="1200150"/>
          </a:xfrm>
        </p:spPr>
        <p:txBody>
          <a:bodyPr anchor="b"/>
          <a:lstStyle>
            <a:lvl1pPr>
              <a:defRPr sz="2700"/>
            </a:lvl1pPr>
          </a:lstStyle>
          <a:p>
            <a:r>
              <a:rPr lang="nb-NO" smtClean="0"/>
              <a:t>Klikk for å redigere tittelstil</a:t>
            </a:r>
            <a:endParaRPr lang="nb-NO"/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3887666" y="740569"/>
            <a:ext cx="4629150" cy="3655219"/>
          </a:xfrm>
        </p:spPr>
        <p:txBody>
          <a:bodyPr/>
          <a:lstStyle>
            <a:lvl1pPr>
              <a:defRPr sz="2700"/>
            </a:lvl1pPr>
            <a:lvl2pPr>
              <a:defRPr sz="2400"/>
            </a:lvl2pPr>
            <a:lvl3pPr>
              <a:defRPr sz="2000"/>
            </a:lvl3pPr>
            <a:lvl4pPr>
              <a:defRPr sz="1700"/>
            </a:lvl4pPr>
            <a:lvl5pPr>
              <a:defRPr sz="1700"/>
            </a:lvl5pPr>
            <a:lvl6pPr>
              <a:defRPr sz="1700"/>
            </a:lvl6pPr>
            <a:lvl7pPr>
              <a:defRPr sz="1700"/>
            </a:lvl7pPr>
            <a:lvl8pPr>
              <a:defRPr sz="1700"/>
            </a:lvl8pPr>
            <a:lvl9pPr>
              <a:defRPr sz="1700"/>
            </a:lvl9pPr>
          </a:lstStyle>
          <a:p>
            <a:pPr lvl="0"/>
            <a:r>
              <a:rPr lang="nb-NO" smtClean="0"/>
              <a:t>Klikk for å redigere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  <a:p>
            <a:pPr lvl="3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nb-NO"/>
          </a:p>
        </p:txBody>
      </p:sp>
      <p:sp>
        <p:nvSpPr>
          <p:cNvPr id="4" name="Plassholder for tekst 3"/>
          <p:cNvSpPr>
            <a:spLocks noGrp="1"/>
          </p:cNvSpPr>
          <p:nvPr>
            <p:ph type="body" sz="half" idx="2"/>
          </p:nvPr>
        </p:nvSpPr>
        <p:spPr>
          <a:xfrm>
            <a:off x="630115" y="1543050"/>
            <a:ext cx="2948354" cy="2858691"/>
          </a:xfrm>
        </p:spPr>
        <p:txBody>
          <a:bodyPr/>
          <a:lstStyle>
            <a:lvl1pPr marL="0" indent="0">
              <a:buNone/>
              <a:defRPr sz="1400"/>
            </a:lvl1pPr>
            <a:lvl2pPr marL="389626" indent="0">
              <a:buNone/>
              <a:defRPr sz="1200"/>
            </a:lvl2pPr>
            <a:lvl3pPr marL="779252" indent="0">
              <a:buNone/>
              <a:defRPr sz="1000"/>
            </a:lvl3pPr>
            <a:lvl4pPr marL="1168878" indent="0">
              <a:buNone/>
              <a:defRPr sz="900"/>
            </a:lvl4pPr>
            <a:lvl5pPr marL="1558503" indent="0">
              <a:buNone/>
              <a:defRPr sz="900"/>
            </a:lvl5pPr>
            <a:lvl6pPr marL="1948129" indent="0">
              <a:buNone/>
              <a:defRPr sz="900"/>
            </a:lvl6pPr>
            <a:lvl7pPr marL="2337755" indent="0">
              <a:buNone/>
              <a:defRPr sz="900"/>
            </a:lvl7pPr>
            <a:lvl8pPr marL="2727381" indent="0">
              <a:buNone/>
              <a:defRPr sz="900"/>
            </a:lvl8pPr>
            <a:lvl9pPr marL="3117007" indent="0">
              <a:buNone/>
              <a:defRPr sz="900"/>
            </a:lvl9pPr>
          </a:lstStyle>
          <a:p>
            <a:pPr lvl="0"/>
            <a:r>
              <a:rPr lang="nb-NO" smtClean="0"/>
              <a:t>Klikk for å redigere tekststiler i malen</a:t>
            </a:r>
          </a:p>
        </p:txBody>
      </p:sp>
      <p:sp>
        <p:nvSpPr>
          <p:cNvPr id="5" name="Plassholder for dato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buClr>
                <a:srgbClr val="44546A"/>
              </a:buClr>
            </a:pPr>
            <a:fld id="{57CDDEFD-23F0-42EB-B054-95271AF0C6FD}" type="datetimeFigureOut">
              <a:rPr lang="nb-NO" smtClean="0">
                <a:solidFill>
                  <a:prstClr val="black">
                    <a:tint val="75000"/>
                  </a:prstClr>
                </a:solidFill>
              </a:rPr>
              <a:pPr>
                <a:buClr>
                  <a:srgbClr val="44546A"/>
                </a:buClr>
              </a:pPr>
              <a:t>13.09.2015</a:t>
            </a:fld>
            <a:endParaRPr lang="nb-N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buClr>
                <a:srgbClr val="44546A"/>
              </a:buClr>
            </a:pPr>
            <a:endParaRPr lang="nb-N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buClr>
                <a:srgbClr val="44546A"/>
              </a:buClr>
            </a:pPr>
            <a:fld id="{1C4D0B95-3711-4744-9B0D-35971583D887}" type="slidenum">
              <a:rPr lang="nb-NO" smtClean="0">
                <a:solidFill>
                  <a:prstClr val="black">
                    <a:tint val="75000"/>
                  </a:prstClr>
                </a:solidFill>
              </a:rPr>
              <a:pPr>
                <a:buClr>
                  <a:srgbClr val="44546A"/>
                </a:buClr>
              </a:pPr>
              <a:t>‹#›</a:t>
            </a:fld>
            <a:endParaRPr lang="nb-NO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00242537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e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630115" y="342900"/>
            <a:ext cx="2948354" cy="1200150"/>
          </a:xfrm>
        </p:spPr>
        <p:txBody>
          <a:bodyPr anchor="b"/>
          <a:lstStyle>
            <a:lvl1pPr>
              <a:defRPr sz="2700"/>
            </a:lvl1pPr>
          </a:lstStyle>
          <a:p>
            <a:r>
              <a:rPr lang="nb-NO" smtClean="0"/>
              <a:t>Klikk for å redigere tittelstil</a:t>
            </a:r>
            <a:endParaRPr lang="nb-NO"/>
          </a:p>
        </p:txBody>
      </p:sp>
      <p:sp>
        <p:nvSpPr>
          <p:cNvPr id="3" name="Plassholder for bilde 2"/>
          <p:cNvSpPr>
            <a:spLocks noGrp="1"/>
          </p:cNvSpPr>
          <p:nvPr>
            <p:ph type="pic" idx="1"/>
          </p:nvPr>
        </p:nvSpPr>
        <p:spPr>
          <a:xfrm>
            <a:off x="3887666" y="740569"/>
            <a:ext cx="4629150" cy="3655219"/>
          </a:xfrm>
        </p:spPr>
        <p:txBody>
          <a:bodyPr/>
          <a:lstStyle>
            <a:lvl1pPr marL="0" indent="0">
              <a:buNone/>
              <a:defRPr sz="2700"/>
            </a:lvl1pPr>
            <a:lvl2pPr marL="389626" indent="0">
              <a:buNone/>
              <a:defRPr sz="2400"/>
            </a:lvl2pPr>
            <a:lvl3pPr marL="779252" indent="0">
              <a:buNone/>
              <a:defRPr sz="2000"/>
            </a:lvl3pPr>
            <a:lvl4pPr marL="1168878" indent="0">
              <a:buNone/>
              <a:defRPr sz="1700"/>
            </a:lvl4pPr>
            <a:lvl5pPr marL="1558503" indent="0">
              <a:buNone/>
              <a:defRPr sz="1700"/>
            </a:lvl5pPr>
            <a:lvl6pPr marL="1948129" indent="0">
              <a:buNone/>
              <a:defRPr sz="1700"/>
            </a:lvl6pPr>
            <a:lvl7pPr marL="2337755" indent="0">
              <a:buNone/>
              <a:defRPr sz="1700"/>
            </a:lvl7pPr>
            <a:lvl8pPr marL="2727381" indent="0">
              <a:buNone/>
              <a:defRPr sz="1700"/>
            </a:lvl8pPr>
            <a:lvl9pPr marL="3117007" indent="0">
              <a:buNone/>
              <a:defRPr sz="1700"/>
            </a:lvl9pPr>
          </a:lstStyle>
          <a:p>
            <a:endParaRPr lang="nb-NO"/>
          </a:p>
        </p:txBody>
      </p:sp>
      <p:sp>
        <p:nvSpPr>
          <p:cNvPr id="4" name="Plassholder for tekst 3"/>
          <p:cNvSpPr>
            <a:spLocks noGrp="1"/>
          </p:cNvSpPr>
          <p:nvPr>
            <p:ph type="body" sz="half" idx="2"/>
          </p:nvPr>
        </p:nvSpPr>
        <p:spPr>
          <a:xfrm>
            <a:off x="630115" y="1543050"/>
            <a:ext cx="2948354" cy="2858691"/>
          </a:xfrm>
        </p:spPr>
        <p:txBody>
          <a:bodyPr/>
          <a:lstStyle>
            <a:lvl1pPr marL="0" indent="0">
              <a:buNone/>
              <a:defRPr sz="1400"/>
            </a:lvl1pPr>
            <a:lvl2pPr marL="389626" indent="0">
              <a:buNone/>
              <a:defRPr sz="1200"/>
            </a:lvl2pPr>
            <a:lvl3pPr marL="779252" indent="0">
              <a:buNone/>
              <a:defRPr sz="1000"/>
            </a:lvl3pPr>
            <a:lvl4pPr marL="1168878" indent="0">
              <a:buNone/>
              <a:defRPr sz="900"/>
            </a:lvl4pPr>
            <a:lvl5pPr marL="1558503" indent="0">
              <a:buNone/>
              <a:defRPr sz="900"/>
            </a:lvl5pPr>
            <a:lvl6pPr marL="1948129" indent="0">
              <a:buNone/>
              <a:defRPr sz="900"/>
            </a:lvl6pPr>
            <a:lvl7pPr marL="2337755" indent="0">
              <a:buNone/>
              <a:defRPr sz="900"/>
            </a:lvl7pPr>
            <a:lvl8pPr marL="2727381" indent="0">
              <a:buNone/>
              <a:defRPr sz="900"/>
            </a:lvl8pPr>
            <a:lvl9pPr marL="3117007" indent="0">
              <a:buNone/>
              <a:defRPr sz="900"/>
            </a:lvl9pPr>
          </a:lstStyle>
          <a:p>
            <a:pPr lvl="0"/>
            <a:r>
              <a:rPr lang="nb-NO" smtClean="0"/>
              <a:t>Klikk for å redigere tekststiler i malen</a:t>
            </a:r>
          </a:p>
        </p:txBody>
      </p:sp>
      <p:sp>
        <p:nvSpPr>
          <p:cNvPr id="5" name="Plassholder for dato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buClr>
                <a:srgbClr val="44546A"/>
              </a:buClr>
            </a:pPr>
            <a:fld id="{57CDDEFD-23F0-42EB-B054-95271AF0C6FD}" type="datetimeFigureOut">
              <a:rPr lang="nb-NO" smtClean="0">
                <a:solidFill>
                  <a:prstClr val="black">
                    <a:tint val="75000"/>
                  </a:prstClr>
                </a:solidFill>
              </a:rPr>
              <a:pPr>
                <a:buClr>
                  <a:srgbClr val="44546A"/>
                </a:buClr>
              </a:pPr>
              <a:t>13.09.2015</a:t>
            </a:fld>
            <a:endParaRPr lang="nb-N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buClr>
                <a:srgbClr val="44546A"/>
              </a:buClr>
            </a:pPr>
            <a:endParaRPr lang="nb-N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buClr>
                <a:srgbClr val="44546A"/>
              </a:buClr>
            </a:pPr>
            <a:fld id="{1C4D0B95-3711-4744-9B0D-35971583D887}" type="slidenum">
              <a:rPr lang="nb-NO" smtClean="0">
                <a:solidFill>
                  <a:prstClr val="black">
                    <a:tint val="75000"/>
                  </a:prstClr>
                </a:solidFill>
              </a:rPr>
              <a:pPr>
                <a:buClr>
                  <a:srgbClr val="44546A"/>
                </a:buClr>
              </a:pPr>
              <a:t>‹#›</a:t>
            </a:fld>
            <a:endParaRPr lang="nb-NO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8050527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tellysbilde #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Bilde 8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9054"/>
          <a:stretch/>
        </p:blipFill>
        <p:spPr>
          <a:xfrm>
            <a:off x="-4984" y="3510645"/>
            <a:ext cx="9144000" cy="1632856"/>
          </a:xfrm>
          <a:prstGeom prst="rect">
            <a:avLst/>
          </a:prstGeom>
          <a:solidFill>
            <a:schemeClr val="accent6"/>
          </a:solidFill>
        </p:spPr>
      </p:pic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685800" y="3763185"/>
            <a:ext cx="7772400" cy="402279"/>
          </a:xfrm>
        </p:spPr>
        <p:txBody>
          <a:bodyPr>
            <a:spAutoFit/>
          </a:bodyPr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nb-NO" smtClean="0"/>
              <a:t>Klikk for å redigere tittelstil</a:t>
            </a:r>
            <a:endParaRPr lang="nb-NO" dirty="0"/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685800" y="4139618"/>
            <a:ext cx="7772400" cy="279168"/>
          </a:xfrm>
        </p:spPr>
        <p:txBody>
          <a:bodyPr wrap="square">
            <a:spAutoFit/>
          </a:bodyPr>
          <a:lstStyle>
            <a:lvl1pPr marL="0" indent="0" algn="l">
              <a:buNone/>
              <a:defRPr>
                <a:solidFill>
                  <a:schemeClr val="bg1"/>
                </a:solidFill>
              </a:defRPr>
            </a:lvl1pPr>
            <a:lvl2pPr marL="4571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29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5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7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8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03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1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b-NO" smtClean="0"/>
              <a:t>Klikk for å redigere undertittelstil i malen</a:t>
            </a:r>
            <a:endParaRPr lang="nb-NO" dirty="0"/>
          </a:p>
        </p:txBody>
      </p:sp>
      <p:sp>
        <p:nvSpPr>
          <p:cNvPr id="13" name="Plassholder for bilde 2"/>
          <p:cNvSpPr>
            <a:spLocks noGrp="1"/>
          </p:cNvSpPr>
          <p:nvPr>
            <p:ph type="pic" idx="10"/>
          </p:nvPr>
        </p:nvSpPr>
        <p:spPr>
          <a:xfrm>
            <a:off x="0" y="1979"/>
            <a:ext cx="9144000" cy="3131815"/>
          </a:xfrm>
        </p:spPr>
        <p:txBody>
          <a:bodyPr/>
          <a:lstStyle>
            <a:lvl1pPr marL="0" indent="0">
              <a:buNone/>
              <a:defRPr sz="3200"/>
            </a:lvl1pPr>
            <a:lvl2pPr marL="457148" indent="0">
              <a:buNone/>
              <a:defRPr sz="2800"/>
            </a:lvl2pPr>
            <a:lvl3pPr marL="914296" indent="0">
              <a:buNone/>
              <a:defRPr sz="2400"/>
            </a:lvl3pPr>
            <a:lvl4pPr marL="1371444" indent="0">
              <a:buNone/>
              <a:defRPr sz="2000"/>
            </a:lvl4pPr>
            <a:lvl5pPr marL="1828592" indent="0">
              <a:buNone/>
              <a:defRPr sz="2000"/>
            </a:lvl5pPr>
            <a:lvl6pPr marL="2285740" indent="0">
              <a:buNone/>
              <a:defRPr sz="2000"/>
            </a:lvl6pPr>
            <a:lvl7pPr marL="2742888" indent="0">
              <a:buNone/>
              <a:defRPr sz="2000"/>
            </a:lvl7pPr>
            <a:lvl8pPr marL="3200036" indent="0">
              <a:buNone/>
              <a:defRPr sz="2000"/>
            </a:lvl8pPr>
            <a:lvl9pPr marL="3657184" indent="0">
              <a:buNone/>
              <a:defRPr sz="2000"/>
            </a:lvl9pPr>
          </a:lstStyle>
          <a:p>
            <a:r>
              <a:rPr lang="nb-NO" smtClean="0"/>
              <a:t>Klikk ikonet for å legge til et bilde</a:t>
            </a:r>
            <a:endParaRPr lang="nb-NO" dirty="0"/>
          </a:p>
        </p:txBody>
      </p:sp>
      <p:pic>
        <p:nvPicPr>
          <p:cNvPr id="7" name="Bilde 6"/>
          <p:cNvPicPr>
            <a:picLocks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7806" y="3208560"/>
            <a:ext cx="1682357" cy="228581"/>
          </a:xfrm>
          <a:prstGeom prst="rect">
            <a:avLst/>
          </a:prstGeom>
        </p:spPr>
      </p:pic>
      <p:sp>
        <p:nvSpPr>
          <p:cNvPr id="8" name="Plassholder for tekst 4"/>
          <p:cNvSpPr>
            <a:spLocks noGrp="1"/>
          </p:cNvSpPr>
          <p:nvPr>
            <p:ph type="body" sz="quarter" idx="11" hasCustomPrompt="1"/>
          </p:nvPr>
        </p:nvSpPr>
        <p:spPr>
          <a:xfrm>
            <a:off x="685721" y="4804010"/>
            <a:ext cx="7772479" cy="309946"/>
          </a:xfrm>
        </p:spPr>
        <p:txBody>
          <a:bodyPr wrap="square" anchor="b" anchorCtr="0">
            <a:sp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nb-NO" smtClean="0"/>
              <a:t>Sted, dato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847202671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Loddrett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smtClean="0"/>
              <a:t>Klikk for å redigere tittelstil</a:t>
            </a:r>
            <a:endParaRPr lang="nb-NO"/>
          </a:p>
        </p:txBody>
      </p:sp>
      <p:sp>
        <p:nvSpPr>
          <p:cNvPr id="3" name="Plassholder for loddrett tekst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nb-NO" smtClean="0"/>
              <a:t>Klikk for å redigere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  <a:p>
            <a:pPr lvl="3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nb-NO"/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buClr>
                <a:srgbClr val="44546A"/>
              </a:buClr>
            </a:pPr>
            <a:fld id="{57CDDEFD-23F0-42EB-B054-95271AF0C6FD}" type="datetimeFigureOut">
              <a:rPr lang="nb-NO" smtClean="0">
                <a:solidFill>
                  <a:prstClr val="black">
                    <a:tint val="75000"/>
                  </a:prstClr>
                </a:solidFill>
              </a:rPr>
              <a:pPr>
                <a:buClr>
                  <a:srgbClr val="44546A"/>
                </a:buClr>
              </a:pPr>
              <a:t>13.09.2015</a:t>
            </a:fld>
            <a:endParaRPr lang="nb-N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buClr>
                <a:srgbClr val="44546A"/>
              </a:buClr>
            </a:pPr>
            <a:endParaRPr lang="nb-N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buClr>
                <a:srgbClr val="44546A"/>
              </a:buClr>
            </a:pPr>
            <a:fld id="{1C4D0B95-3711-4744-9B0D-35971583D887}" type="slidenum">
              <a:rPr lang="nb-NO" smtClean="0">
                <a:solidFill>
                  <a:prstClr val="black">
                    <a:tint val="75000"/>
                  </a:prstClr>
                </a:solidFill>
              </a:rPr>
              <a:pPr>
                <a:buClr>
                  <a:srgbClr val="44546A"/>
                </a:buClr>
              </a:pPr>
              <a:t>‹#›</a:t>
            </a:fld>
            <a:endParaRPr lang="nb-NO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28402537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Loddrett tittel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oddrett tittel 1"/>
          <p:cNvSpPr>
            <a:spLocks noGrp="1"/>
          </p:cNvSpPr>
          <p:nvPr>
            <p:ph type="title" orient="vert"/>
          </p:nvPr>
        </p:nvSpPr>
        <p:spPr>
          <a:xfrm>
            <a:off x="6544408" y="273844"/>
            <a:ext cx="1970943" cy="4358879"/>
          </a:xfrm>
        </p:spPr>
        <p:txBody>
          <a:bodyPr vert="eaVert"/>
          <a:lstStyle/>
          <a:p>
            <a:r>
              <a:rPr lang="nb-NO" smtClean="0"/>
              <a:t>Klikk for å redigere tittelstil</a:t>
            </a:r>
            <a:endParaRPr lang="nb-NO"/>
          </a:p>
        </p:txBody>
      </p:sp>
      <p:sp>
        <p:nvSpPr>
          <p:cNvPr id="3" name="Plassholder for loddrett tekst 2"/>
          <p:cNvSpPr>
            <a:spLocks noGrp="1"/>
          </p:cNvSpPr>
          <p:nvPr>
            <p:ph type="body" orient="vert" idx="1"/>
          </p:nvPr>
        </p:nvSpPr>
        <p:spPr>
          <a:xfrm>
            <a:off x="628651" y="273844"/>
            <a:ext cx="5775080" cy="4358879"/>
          </a:xfrm>
        </p:spPr>
        <p:txBody>
          <a:bodyPr vert="eaVert"/>
          <a:lstStyle/>
          <a:p>
            <a:pPr lvl="0"/>
            <a:r>
              <a:rPr lang="nb-NO" smtClean="0"/>
              <a:t>Klikk for å redigere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  <a:p>
            <a:pPr lvl="3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nb-NO"/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buClr>
                <a:srgbClr val="44546A"/>
              </a:buClr>
            </a:pPr>
            <a:fld id="{57CDDEFD-23F0-42EB-B054-95271AF0C6FD}" type="datetimeFigureOut">
              <a:rPr lang="nb-NO" smtClean="0">
                <a:solidFill>
                  <a:prstClr val="black">
                    <a:tint val="75000"/>
                  </a:prstClr>
                </a:solidFill>
              </a:rPr>
              <a:pPr>
                <a:buClr>
                  <a:srgbClr val="44546A"/>
                </a:buClr>
              </a:pPr>
              <a:t>13.09.2015</a:t>
            </a:fld>
            <a:endParaRPr lang="nb-N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buClr>
                <a:srgbClr val="44546A"/>
              </a:buClr>
            </a:pPr>
            <a:endParaRPr lang="nb-N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buClr>
                <a:srgbClr val="44546A"/>
              </a:buClr>
            </a:pPr>
            <a:fld id="{1C4D0B95-3711-4744-9B0D-35971583D887}" type="slidenum">
              <a:rPr lang="nb-NO" smtClean="0">
                <a:solidFill>
                  <a:prstClr val="black">
                    <a:tint val="75000"/>
                  </a:prstClr>
                </a:solidFill>
              </a:rPr>
              <a:pPr>
                <a:buClr>
                  <a:srgbClr val="44546A"/>
                </a:buClr>
              </a:pPr>
              <a:t>‹#›</a:t>
            </a:fld>
            <a:endParaRPr lang="nb-NO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5262839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tellys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1143000" y="841772"/>
            <a:ext cx="6858000" cy="1790700"/>
          </a:xfrm>
        </p:spPr>
        <p:txBody>
          <a:bodyPr anchor="b"/>
          <a:lstStyle>
            <a:lvl1pPr algn="ctr">
              <a:defRPr sz="5100"/>
            </a:lvl1pPr>
          </a:lstStyle>
          <a:p>
            <a:r>
              <a:rPr lang="nb-NO" smtClean="0"/>
              <a:t>Klikk for å redigere tittelstil</a:t>
            </a:r>
            <a:endParaRPr lang="nb-NO"/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1143000" y="2701528"/>
            <a:ext cx="6858000" cy="1241822"/>
          </a:xfrm>
        </p:spPr>
        <p:txBody>
          <a:bodyPr/>
          <a:lstStyle>
            <a:lvl1pPr marL="0" indent="0" algn="ctr">
              <a:buNone/>
              <a:defRPr sz="2000"/>
            </a:lvl1pPr>
            <a:lvl2pPr marL="389626" indent="0" algn="ctr">
              <a:buNone/>
              <a:defRPr sz="1700"/>
            </a:lvl2pPr>
            <a:lvl3pPr marL="779252" indent="0" algn="ctr">
              <a:buNone/>
              <a:defRPr sz="1500"/>
            </a:lvl3pPr>
            <a:lvl4pPr marL="1168878" indent="0" algn="ctr">
              <a:buNone/>
              <a:defRPr sz="1400"/>
            </a:lvl4pPr>
            <a:lvl5pPr marL="1558503" indent="0" algn="ctr">
              <a:buNone/>
              <a:defRPr sz="1400"/>
            </a:lvl5pPr>
            <a:lvl6pPr marL="1948129" indent="0" algn="ctr">
              <a:buNone/>
              <a:defRPr sz="1400"/>
            </a:lvl6pPr>
            <a:lvl7pPr marL="2337755" indent="0" algn="ctr">
              <a:buNone/>
              <a:defRPr sz="1400"/>
            </a:lvl7pPr>
            <a:lvl8pPr marL="2727381" indent="0" algn="ctr">
              <a:buNone/>
              <a:defRPr sz="1400"/>
            </a:lvl8pPr>
            <a:lvl9pPr marL="3117007" indent="0" algn="ctr">
              <a:buNone/>
              <a:defRPr sz="1400"/>
            </a:lvl9pPr>
          </a:lstStyle>
          <a:p>
            <a:r>
              <a:rPr lang="nb-NO" smtClean="0"/>
              <a:t>Klikk for å redigere undertittelstil i malen</a:t>
            </a:r>
            <a:endParaRPr lang="nb-NO"/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buClr>
                <a:srgbClr val="44546A"/>
              </a:buClr>
            </a:pPr>
            <a:fld id="{57CDDEFD-23F0-42EB-B054-95271AF0C6FD}" type="datetimeFigureOut">
              <a:rPr lang="nb-NO" smtClean="0">
                <a:solidFill>
                  <a:prstClr val="black">
                    <a:tint val="75000"/>
                  </a:prstClr>
                </a:solidFill>
              </a:rPr>
              <a:pPr>
                <a:buClr>
                  <a:srgbClr val="44546A"/>
                </a:buClr>
              </a:pPr>
              <a:t>13.09.2015</a:t>
            </a:fld>
            <a:endParaRPr lang="nb-N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buClr>
                <a:srgbClr val="44546A"/>
              </a:buClr>
            </a:pPr>
            <a:endParaRPr lang="nb-N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buClr>
                <a:srgbClr val="44546A"/>
              </a:buClr>
            </a:pPr>
            <a:fld id="{1C4D0B95-3711-4744-9B0D-35971583D887}" type="slidenum">
              <a:rPr lang="nb-NO" smtClean="0">
                <a:solidFill>
                  <a:prstClr val="black">
                    <a:tint val="75000"/>
                  </a:prstClr>
                </a:solidFill>
              </a:rPr>
              <a:pPr>
                <a:buClr>
                  <a:srgbClr val="44546A"/>
                </a:buClr>
              </a:pPr>
              <a:t>‹#›</a:t>
            </a:fld>
            <a:endParaRPr lang="nb-NO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3092328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628651" y="273844"/>
            <a:ext cx="6835502" cy="684944"/>
          </a:xfrm>
        </p:spPr>
        <p:txBody>
          <a:bodyPr>
            <a:normAutofit/>
          </a:bodyPr>
          <a:lstStyle>
            <a:lvl1pPr>
              <a:defRPr sz="2400" b="1">
                <a:solidFill>
                  <a:srgbClr val="7030A0"/>
                </a:solidFill>
                <a:latin typeface="+mn-lt"/>
              </a:defRPr>
            </a:lvl1pPr>
          </a:lstStyle>
          <a:p>
            <a:r>
              <a:rPr lang="nb-NO" smtClean="0"/>
              <a:t>Klikk for å redigere tittelstil</a:t>
            </a:r>
            <a:endParaRPr lang="nb-NO"/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628650" y="1111929"/>
            <a:ext cx="8106977" cy="3329126"/>
          </a:xfrm>
        </p:spPr>
        <p:txBody>
          <a:bodyPr>
            <a:normAutofit/>
          </a:bodyPr>
          <a:lstStyle>
            <a:lvl1pPr>
              <a:defRPr sz="1700"/>
            </a:lvl1pPr>
            <a:lvl2pPr>
              <a:defRPr sz="15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nb-NO" dirty="0" smtClean="0"/>
              <a:t>Klikk for å redigere tekststiler i malen</a:t>
            </a:r>
          </a:p>
          <a:p>
            <a:pPr lvl="1"/>
            <a:r>
              <a:rPr lang="nb-NO" dirty="0" smtClean="0"/>
              <a:t>Andre nivå</a:t>
            </a:r>
          </a:p>
          <a:p>
            <a:pPr lvl="2"/>
            <a:r>
              <a:rPr lang="nb-NO" dirty="0" smtClean="0"/>
              <a:t>Tredje nivå</a:t>
            </a:r>
          </a:p>
          <a:p>
            <a:pPr lvl="3"/>
            <a:r>
              <a:rPr lang="nb-NO" dirty="0" smtClean="0"/>
              <a:t>Fjerde nivå</a:t>
            </a:r>
          </a:p>
          <a:p>
            <a:pPr lvl="4"/>
            <a:r>
              <a:rPr lang="nb-NO" dirty="0" smtClean="0"/>
              <a:t>Femte nivå</a:t>
            </a:r>
            <a:endParaRPr lang="nb-NO" dirty="0"/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>
          <a:xfrm>
            <a:off x="628651" y="4767263"/>
            <a:ext cx="1642459" cy="273844"/>
          </a:xfrm>
        </p:spPr>
        <p:txBody>
          <a:bodyPr/>
          <a:lstStyle/>
          <a:p>
            <a:pPr>
              <a:buClr>
                <a:srgbClr val="44546A"/>
              </a:buClr>
            </a:pPr>
            <a:fld id="{57CDDEFD-23F0-42EB-B054-95271AF0C6FD}" type="datetimeFigureOut">
              <a:rPr lang="nb-NO" smtClean="0">
                <a:solidFill>
                  <a:prstClr val="black">
                    <a:tint val="75000"/>
                  </a:prstClr>
                </a:solidFill>
              </a:rPr>
              <a:pPr>
                <a:buClr>
                  <a:srgbClr val="44546A"/>
                </a:buClr>
              </a:pPr>
              <a:t>13.09.2015</a:t>
            </a:fld>
            <a:endParaRPr lang="nb-N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buClr>
                <a:srgbClr val="44546A"/>
              </a:buClr>
            </a:pPr>
            <a:endParaRPr lang="nb-N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>
          <a:xfrm>
            <a:off x="8178383" y="4767263"/>
            <a:ext cx="566425" cy="273844"/>
          </a:xfrm>
        </p:spPr>
        <p:txBody>
          <a:bodyPr/>
          <a:lstStyle/>
          <a:p>
            <a:pPr>
              <a:buClr>
                <a:srgbClr val="44546A"/>
              </a:buClr>
            </a:pPr>
            <a:fld id="{1C4D0B95-3711-4744-9B0D-35971583D887}" type="slidenum">
              <a:rPr lang="nb-NO" smtClean="0">
                <a:solidFill>
                  <a:prstClr val="black">
                    <a:tint val="75000"/>
                  </a:prstClr>
                </a:solidFill>
              </a:rPr>
              <a:pPr>
                <a:buClr>
                  <a:srgbClr val="44546A"/>
                </a:buClr>
              </a:pPr>
              <a:t>‹#›</a:t>
            </a:fld>
            <a:endParaRPr lang="nb-NO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7" name="Bilde 6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74924" y="4686022"/>
            <a:ext cx="295209" cy="373832"/>
          </a:xfrm>
          <a:prstGeom prst="rect">
            <a:avLst/>
          </a:prstGeom>
        </p:spPr>
      </p:pic>
      <p:pic>
        <p:nvPicPr>
          <p:cNvPr id="8" name="Bilde 7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82662" y="4834363"/>
            <a:ext cx="800411" cy="233068"/>
          </a:xfrm>
          <a:prstGeom prst="rect">
            <a:avLst/>
          </a:prstGeom>
        </p:spPr>
      </p:pic>
      <p:pic>
        <p:nvPicPr>
          <p:cNvPr id="9" name="Bilde 8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34681" y="4740938"/>
            <a:ext cx="1109247" cy="333152"/>
          </a:xfrm>
          <a:prstGeom prst="rect">
            <a:avLst/>
          </a:prstGeom>
        </p:spPr>
      </p:pic>
      <p:pic>
        <p:nvPicPr>
          <p:cNvPr id="10" name="Bilde 9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04829" y="273844"/>
            <a:ext cx="1130798" cy="4718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983291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Del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624254" y="1282304"/>
            <a:ext cx="7886700" cy="2139553"/>
          </a:xfrm>
        </p:spPr>
        <p:txBody>
          <a:bodyPr anchor="b"/>
          <a:lstStyle>
            <a:lvl1pPr>
              <a:defRPr sz="5100"/>
            </a:lvl1pPr>
          </a:lstStyle>
          <a:p>
            <a:r>
              <a:rPr lang="nb-NO" smtClean="0"/>
              <a:t>Klikk for å redigere tittelstil</a:t>
            </a:r>
            <a:endParaRPr lang="nb-NO"/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624254" y="3442098"/>
            <a:ext cx="7886700" cy="1125140"/>
          </a:xfrm>
        </p:spPr>
        <p:txBody>
          <a:bodyPr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389626" indent="0">
              <a:buNone/>
              <a:defRPr sz="1700">
                <a:solidFill>
                  <a:schemeClr val="tx1">
                    <a:tint val="75000"/>
                  </a:schemeClr>
                </a:solidFill>
              </a:defRPr>
            </a:lvl2pPr>
            <a:lvl3pPr marL="779252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3pPr>
            <a:lvl4pPr marL="1168878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558503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1948129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337755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2727381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117007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 smtClean="0"/>
              <a:t>Klikk for å redigere tekststiler i malen</a:t>
            </a: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buClr>
                <a:srgbClr val="44546A"/>
              </a:buClr>
            </a:pPr>
            <a:fld id="{57CDDEFD-23F0-42EB-B054-95271AF0C6FD}" type="datetimeFigureOut">
              <a:rPr lang="nb-NO" smtClean="0">
                <a:solidFill>
                  <a:prstClr val="black">
                    <a:tint val="75000"/>
                  </a:prstClr>
                </a:solidFill>
              </a:rPr>
              <a:pPr>
                <a:buClr>
                  <a:srgbClr val="44546A"/>
                </a:buClr>
              </a:pPr>
              <a:t>13.09.2015</a:t>
            </a:fld>
            <a:endParaRPr lang="nb-N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buClr>
                <a:srgbClr val="44546A"/>
              </a:buClr>
            </a:pPr>
            <a:endParaRPr lang="nb-N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buClr>
                <a:srgbClr val="44546A"/>
              </a:buClr>
            </a:pPr>
            <a:fld id="{1C4D0B95-3711-4744-9B0D-35971583D887}" type="slidenum">
              <a:rPr lang="nb-NO" smtClean="0">
                <a:solidFill>
                  <a:prstClr val="black">
                    <a:tint val="75000"/>
                  </a:prstClr>
                </a:solidFill>
              </a:rPr>
              <a:pPr>
                <a:buClr>
                  <a:srgbClr val="44546A"/>
                </a:buClr>
              </a:pPr>
              <a:t>‹#›</a:t>
            </a:fld>
            <a:endParaRPr lang="nb-NO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05992233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smtClean="0"/>
              <a:t>Klikk for å redigere tittelstil</a:t>
            </a:r>
            <a:endParaRPr lang="nb-NO"/>
          </a:p>
        </p:txBody>
      </p:sp>
      <p:sp>
        <p:nvSpPr>
          <p:cNvPr id="3" name="Plassholder for innhold 2"/>
          <p:cNvSpPr>
            <a:spLocks noGrp="1"/>
          </p:cNvSpPr>
          <p:nvPr>
            <p:ph sz="half" idx="1"/>
          </p:nvPr>
        </p:nvSpPr>
        <p:spPr>
          <a:xfrm>
            <a:off x="628651" y="1369219"/>
            <a:ext cx="3873011" cy="3263504"/>
          </a:xfrm>
        </p:spPr>
        <p:txBody>
          <a:bodyPr/>
          <a:lstStyle/>
          <a:p>
            <a:pPr lvl="0"/>
            <a:r>
              <a:rPr lang="nb-NO" smtClean="0"/>
              <a:t>Klikk for å redigere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  <a:p>
            <a:pPr lvl="3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nb-NO"/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4642339" y="1369219"/>
            <a:ext cx="3873012" cy="3263504"/>
          </a:xfrm>
        </p:spPr>
        <p:txBody>
          <a:bodyPr/>
          <a:lstStyle/>
          <a:p>
            <a:pPr lvl="0"/>
            <a:r>
              <a:rPr lang="nb-NO" smtClean="0"/>
              <a:t>Klikk for å redigere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  <a:p>
            <a:pPr lvl="3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nb-NO"/>
          </a:p>
        </p:txBody>
      </p:sp>
      <p:sp>
        <p:nvSpPr>
          <p:cNvPr id="5" name="Plassholder for dato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buClr>
                <a:srgbClr val="44546A"/>
              </a:buClr>
            </a:pPr>
            <a:fld id="{57CDDEFD-23F0-42EB-B054-95271AF0C6FD}" type="datetimeFigureOut">
              <a:rPr lang="nb-NO" smtClean="0">
                <a:solidFill>
                  <a:prstClr val="black">
                    <a:tint val="75000"/>
                  </a:prstClr>
                </a:solidFill>
              </a:rPr>
              <a:pPr>
                <a:buClr>
                  <a:srgbClr val="44546A"/>
                </a:buClr>
              </a:pPr>
              <a:t>13.09.2015</a:t>
            </a:fld>
            <a:endParaRPr lang="nb-N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buClr>
                <a:srgbClr val="44546A"/>
              </a:buClr>
            </a:pPr>
            <a:endParaRPr lang="nb-N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buClr>
                <a:srgbClr val="44546A"/>
              </a:buClr>
            </a:pPr>
            <a:fld id="{1C4D0B95-3711-4744-9B0D-35971583D887}" type="slidenum">
              <a:rPr lang="nb-NO" smtClean="0">
                <a:solidFill>
                  <a:prstClr val="black">
                    <a:tint val="75000"/>
                  </a:prstClr>
                </a:solidFill>
              </a:rPr>
              <a:pPr>
                <a:buClr>
                  <a:srgbClr val="44546A"/>
                </a:buClr>
              </a:pPr>
              <a:t>‹#›</a:t>
            </a:fld>
            <a:endParaRPr lang="nb-NO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7096852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630116" y="273844"/>
            <a:ext cx="7886700" cy="994172"/>
          </a:xfrm>
        </p:spPr>
        <p:txBody>
          <a:bodyPr/>
          <a:lstStyle/>
          <a:p>
            <a:r>
              <a:rPr lang="nb-NO" smtClean="0"/>
              <a:t>Klikk for å redigere tittelstil</a:t>
            </a:r>
            <a:endParaRPr lang="nb-NO"/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630116" y="1260872"/>
            <a:ext cx="3868615" cy="617934"/>
          </a:xfrm>
        </p:spPr>
        <p:txBody>
          <a:bodyPr anchor="b"/>
          <a:lstStyle>
            <a:lvl1pPr marL="0" indent="0">
              <a:buNone/>
              <a:defRPr sz="2000" b="1"/>
            </a:lvl1pPr>
            <a:lvl2pPr marL="389626" indent="0">
              <a:buNone/>
              <a:defRPr sz="1700" b="1"/>
            </a:lvl2pPr>
            <a:lvl3pPr marL="779252" indent="0">
              <a:buNone/>
              <a:defRPr sz="1500" b="1"/>
            </a:lvl3pPr>
            <a:lvl4pPr marL="1168878" indent="0">
              <a:buNone/>
              <a:defRPr sz="1400" b="1"/>
            </a:lvl4pPr>
            <a:lvl5pPr marL="1558503" indent="0">
              <a:buNone/>
              <a:defRPr sz="1400" b="1"/>
            </a:lvl5pPr>
            <a:lvl6pPr marL="1948129" indent="0">
              <a:buNone/>
              <a:defRPr sz="1400" b="1"/>
            </a:lvl6pPr>
            <a:lvl7pPr marL="2337755" indent="0">
              <a:buNone/>
              <a:defRPr sz="1400" b="1"/>
            </a:lvl7pPr>
            <a:lvl8pPr marL="2727381" indent="0">
              <a:buNone/>
              <a:defRPr sz="1400" b="1"/>
            </a:lvl8pPr>
            <a:lvl9pPr marL="3117007" indent="0">
              <a:buNone/>
              <a:defRPr sz="1400" b="1"/>
            </a:lvl9pPr>
          </a:lstStyle>
          <a:p>
            <a:pPr lvl="0"/>
            <a:r>
              <a:rPr lang="nb-NO" smtClean="0"/>
              <a:t>Klikk for å redigere tekststiler i malen</a:t>
            </a:r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630116" y="1878806"/>
            <a:ext cx="3868615" cy="2763441"/>
          </a:xfrm>
        </p:spPr>
        <p:txBody>
          <a:bodyPr/>
          <a:lstStyle/>
          <a:p>
            <a:pPr lvl="0"/>
            <a:r>
              <a:rPr lang="nb-NO" smtClean="0"/>
              <a:t>Klikk for å redigere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  <a:p>
            <a:pPr lvl="3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nb-NO"/>
          </a:p>
        </p:txBody>
      </p:sp>
      <p:sp>
        <p:nvSpPr>
          <p:cNvPr id="5" name="Plassholder for tekst 4"/>
          <p:cNvSpPr>
            <a:spLocks noGrp="1"/>
          </p:cNvSpPr>
          <p:nvPr>
            <p:ph type="body" sz="quarter" idx="3"/>
          </p:nvPr>
        </p:nvSpPr>
        <p:spPr>
          <a:xfrm>
            <a:off x="4629151" y="1260872"/>
            <a:ext cx="3887665" cy="617934"/>
          </a:xfrm>
        </p:spPr>
        <p:txBody>
          <a:bodyPr anchor="b"/>
          <a:lstStyle>
            <a:lvl1pPr marL="0" indent="0">
              <a:buNone/>
              <a:defRPr sz="2000" b="1"/>
            </a:lvl1pPr>
            <a:lvl2pPr marL="389626" indent="0">
              <a:buNone/>
              <a:defRPr sz="1700" b="1"/>
            </a:lvl2pPr>
            <a:lvl3pPr marL="779252" indent="0">
              <a:buNone/>
              <a:defRPr sz="1500" b="1"/>
            </a:lvl3pPr>
            <a:lvl4pPr marL="1168878" indent="0">
              <a:buNone/>
              <a:defRPr sz="1400" b="1"/>
            </a:lvl4pPr>
            <a:lvl5pPr marL="1558503" indent="0">
              <a:buNone/>
              <a:defRPr sz="1400" b="1"/>
            </a:lvl5pPr>
            <a:lvl6pPr marL="1948129" indent="0">
              <a:buNone/>
              <a:defRPr sz="1400" b="1"/>
            </a:lvl6pPr>
            <a:lvl7pPr marL="2337755" indent="0">
              <a:buNone/>
              <a:defRPr sz="1400" b="1"/>
            </a:lvl7pPr>
            <a:lvl8pPr marL="2727381" indent="0">
              <a:buNone/>
              <a:defRPr sz="1400" b="1"/>
            </a:lvl8pPr>
            <a:lvl9pPr marL="3117007" indent="0">
              <a:buNone/>
              <a:defRPr sz="1400" b="1"/>
            </a:lvl9pPr>
          </a:lstStyle>
          <a:p>
            <a:pPr lvl="0"/>
            <a:r>
              <a:rPr lang="nb-NO" smtClean="0"/>
              <a:t>Klikk for å redigere tekststiler i malen</a:t>
            </a:r>
          </a:p>
        </p:txBody>
      </p:sp>
      <p:sp>
        <p:nvSpPr>
          <p:cNvPr id="6" name="Plassholder for innhold 5"/>
          <p:cNvSpPr>
            <a:spLocks noGrp="1"/>
          </p:cNvSpPr>
          <p:nvPr>
            <p:ph sz="quarter" idx="4"/>
          </p:nvPr>
        </p:nvSpPr>
        <p:spPr>
          <a:xfrm>
            <a:off x="4629151" y="1878806"/>
            <a:ext cx="3887665" cy="2763441"/>
          </a:xfrm>
        </p:spPr>
        <p:txBody>
          <a:bodyPr/>
          <a:lstStyle/>
          <a:p>
            <a:pPr lvl="0"/>
            <a:r>
              <a:rPr lang="nb-NO" smtClean="0"/>
              <a:t>Klikk for å redigere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  <a:p>
            <a:pPr lvl="3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nb-NO"/>
          </a:p>
        </p:txBody>
      </p:sp>
      <p:sp>
        <p:nvSpPr>
          <p:cNvPr id="7" name="Plassholder for dato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buClr>
                <a:srgbClr val="44546A"/>
              </a:buClr>
            </a:pPr>
            <a:fld id="{57CDDEFD-23F0-42EB-B054-95271AF0C6FD}" type="datetimeFigureOut">
              <a:rPr lang="nb-NO" smtClean="0">
                <a:solidFill>
                  <a:prstClr val="black">
                    <a:tint val="75000"/>
                  </a:prstClr>
                </a:solidFill>
              </a:rPr>
              <a:pPr>
                <a:buClr>
                  <a:srgbClr val="44546A"/>
                </a:buClr>
              </a:pPr>
              <a:t>13.09.2015</a:t>
            </a:fld>
            <a:endParaRPr lang="nb-N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Plassholder for bunntekst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buClr>
                <a:srgbClr val="44546A"/>
              </a:buClr>
            </a:pPr>
            <a:endParaRPr lang="nb-N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Plassholder for lysbildenumm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buClr>
                <a:srgbClr val="44546A"/>
              </a:buClr>
            </a:pPr>
            <a:fld id="{1C4D0B95-3711-4744-9B0D-35971583D887}" type="slidenum">
              <a:rPr lang="nb-NO" smtClean="0">
                <a:solidFill>
                  <a:prstClr val="black">
                    <a:tint val="75000"/>
                  </a:prstClr>
                </a:solidFill>
              </a:rPr>
              <a:pPr>
                <a:buClr>
                  <a:srgbClr val="44546A"/>
                </a:buClr>
              </a:pPr>
              <a:t>‹#›</a:t>
            </a:fld>
            <a:endParaRPr lang="nb-NO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24268023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smtClean="0"/>
              <a:t>Klikk for å redigere tittelstil</a:t>
            </a:r>
            <a:endParaRPr lang="nb-NO"/>
          </a:p>
        </p:txBody>
      </p:sp>
      <p:sp>
        <p:nvSpPr>
          <p:cNvPr id="3" name="Plassholder for dato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buClr>
                <a:srgbClr val="44546A"/>
              </a:buClr>
            </a:pPr>
            <a:fld id="{57CDDEFD-23F0-42EB-B054-95271AF0C6FD}" type="datetimeFigureOut">
              <a:rPr lang="nb-NO" smtClean="0">
                <a:solidFill>
                  <a:prstClr val="black">
                    <a:tint val="75000"/>
                  </a:prstClr>
                </a:solidFill>
              </a:rPr>
              <a:pPr>
                <a:buClr>
                  <a:srgbClr val="44546A"/>
                </a:buClr>
              </a:pPr>
              <a:t>13.09.2015</a:t>
            </a:fld>
            <a:endParaRPr lang="nb-N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Plassholder for bunntekst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buClr>
                <a:srgbClr val="44546A"/>
              </a:buClr>
            </a:pPr>
            <a:endParaRPr lang="nb-N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Plassholder for lysbilde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buClr>
                <a:srgbClr val="44546A"/>
              </a:buClr>
            </a:pPr>
            <a:fld id="{1C4D0B95-3711-4744-9B0D-35971583D887}" type="slidenum">
              <a:rPr lang="nb-NO" smtClean="0">
                <a:solidFill>
                  <a:prstClr val="black">
                    <a:tint val="75000"/>
                  </a:prstClr>
                </a:solidFill>
              </a:rPr>
              <a:pPr>
                <a:buClr>
                  <a:srgbClr val="44546A"/>
                </a:buClr>
              </a:pPr>
              <a:t>‹#›</a:t>
            </a:fld>
            <a:endParaRPr lang="nb-NO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6586638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dato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buClr>
                <a:srgbClr val="44546A"/>
              </a:buClr>
            </a:pPr>
            <a:fld id="{57CDDEFD-23F0-42EB-B054-95271AF0C6FD}" type="datetimeFigureOut">
              <a:rPr lang="nb-NO" smtClean="0">
                <a:solidFill>
                  <a:prstClr val="black">
                    <a:tint val="75000"/>
                  </a:prstClr>
                </a:solidFill>
              </a:rPr>
              <a:pPr>
                <a:buClr>
                  <a:srgbClr val="44546A"/>
                </a:buClr>
              </a:pPr>
              <a:t>13.09.2015</a:t>
            </a:fld>
            <a:endParaRPr lang="nb-N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Plassholder for bunntekst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buClr>
                <a:srgbClr val="44546A"/>
              </a:buClr>
            </a:pPr>
            <a:endParaRPr lang="nb-N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buClr>
                <a:srgbClr val="44546A"/>
              </a:buClr>
            </a:pPr>
            <a:fld id="{1C4D0B95-3711-4744-9B0D-35971583D887}" type="slidenum">
              <a:rPr lang="nb-NO" smtClean="0">
                <a:solidFill>
                  <a:prstClr val="black">
                    <a:tint val="75000"/>
                  </a:prstClr>
                </a:solidFill>
              </a:rPr>
              <a:pPr>
                <a:buClr>
                  <a:srgbClr val="44546A"/>
                </a:buClr>
              </a:pPr>
              <a:t>‹#›</a:t>
            </a:fld>
            <a:endParaRPr lang="nb-NO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72743243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nhold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630115" y="342900"/>
            <a:ext cx="2948354" cy="1200150"/>
          </a:xfrm>
        </p:spPr>
        <p:txBody>
          <a:bodyPr anchor="b"/>
          <a:lstStyle>
            <a:lvl1pPr>
              <a:defRPr sz="2700"/>
            </a:lvl1pPr>
          </a:lstStyle>
          <a:p>
            <a:r>
              <a:rPr lang="nb-NO" smtClean="0"/>
              <a:t>Klikk for å redigere tittelstil</a:t>
            </a:r>
            <a:endParaRPr lang="nb-NO"/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3887666" y="740569"/>
            <a:ext cx="4629150" cy="3655219"/>
          </a:xfrm>
        </p:spPr>
        <p:txBody>
          <a:bodyPr/>
          <a:lstStyle>
            <a:lvl1pPr>
              <a:defRPr sz="2700"/>
            </a:lvl1pPr>
            <a:lvl2pPr>
              <a:defRPr sz="2400"/>
            </a:lvl2pPr>
            <a:lvl3pPr>
              <a:defRPr sz="2000"/>
            </a:lvl3pPr>
            <a:lvl4pPr>
              <a:defRPr sz="1700"/>
            </a:lvl4pPr>
            <a:lvl5pPr>
              <a:defRPr sz="1700"/>
            </a:lvl5pPr>
            <a:lvl6pPr>
              <a:defRPr sz="1700"/>
            </a:lvl6pPr>
            <a:lvl7pPr>
              <a:defRPr sz="1700"/>
            </a:lvl7pPr>
            <a:lvl8pPr>
              <a:defRPr sz="1700"/>
            </a:lvl8pPr>
            <a:lvl9pPr>
              <a:defRPr sz="1700"/>
            </a:lvl9pPr>
          </a:lstStyle>
          <a:p>
            <a:pPr lvl="0"/>
            <a:r>
              <a:rPr lang="nb-NO" smtClean="0"/>
              <a:t>Klikk for å redigere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  <a:p>
            <a:pPr lvl="3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nb-NO"/>
          </a:p>
        </p:txBody>
      </p:sp>
      <p:sp>
        <p:nvSpPr>
          <p:cNvPr id="4" name="Plassholder for tekst 3"/>
          <p:cNvSpPr>
            <a:spLocks noGrp="1"/>
          </p:cNvSpPr>
          <p:nvPr>
            <p:ph type="body" sz="half" idx="2"/>
          </p:nvPr>
        </p:nvSpPr>
        <p:spPr>
          <a:xfrm>
            <a:off x="630115" y="1543050"/>
            <a:ext cx="2948354" cy="2858691"/>
          </a:xfrm>
        </p:spPr>
        <p:txBody>
          <a:bodyPr/>
          <a:lstStyle>
            <a:lvl1pPr marL="0" indent="0">
              <a:buNone/>
              <a:defRPr sz="1400"/>
            </a:lvl1pPr>
            <a:lvl2pPr marL="389626" indent="0">
              <a:buNone/>
              <a:defRPr sz="1200"/>
            </a:lvl2pPr>
            <a:lvl3pPr marL="779252" indent="0">
              <a:buNone/>
              <a:defRPr sz="1000"/>
            </a:lvl3pPr>
            <a:lvl4pPr marL="1168878" indent="0">
              <a:buNone/>
              <a:defRPr sz="900"/>
            </a:lvl4pPr>
            <a:lvl5pPr marL="1558503" indent="0">
              <a:buNone/>
              <a:defRPr sz="900"/>
            </a:lvl5pPr>
            <a:lvl6pPr marL="1948129" indent="0">
              <a:buNone/>
              <a:defRPr sz="900"/>
            </a:lvl6pPr>
            <a:lvl7pPr marL="2337755" indent="0">
              <a:buNone/>
              <a:defRPr sz="900"/>
            </a:lvl7pPr>
            <a:lvl8pPr marL="2727381" indent="0">
              <a:buNone/>
              <a:defRPr sz="900"/>
            </a:lvl8pPr>
            <a:lvl9pPr marL="3117007" indent="0">
              <a:buNone/>
              <a:defRPr sz="900"/>
            </a:lvl9pPr>
          </a:lstStyle>
          <a:p>
            <a:pPr lvl="0"/>
            <a:r>
              <a:rPr lang="nb-NO" smtClean="0"/>
              <a:t>Klikk for å redigere tekststiler i malen</a:t>
            </a:r>
          </a:p>
        </p:txBody>
      </p:sp>
      <p:sp>
        <p:nvSpPr>
          <p:cNvPr id="5" name="Plassholder for dato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buClr>
                <a:srgbClr val="44546A"/>
              </a:buClr>
            </a:pPr>
            <a:fld id="{57CDDEFD-23F0-42EB-B054-95271AF0C6FD}" type="datetimeFigureOut">
              <a:rPr lang="nb-NO" smtClean="0">
                <a:solidFill>
                  <a:prstClr val="black">
                    <a:tint val="75000"/>
                  </a:prstClr>
                </a:solidFill>
              </a:rPr>
              <a:pPr>
                <a:buClr>
                  <a:srgbClr val="44546A"/>
                </a:buClr>
              </a:pPr>
              <a:t>13.09.2015</a:t>
            </a:fld>
            <a:endParaRPr lang="nb-N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buClr>
                <a:srgbClr val="44546A"/>
              </a:buClr>
            </a:pPr>
            <a:endParaRPr lang="nb-N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buClr>
                <a:srgbClr val="44546A"/>
              </a:buClr>
            </a:pPr>
            <a:fld id="{1C4D0B95-3711-4744-9B0D-35971583D887}" type="slidenum">
              <a:rPr lang="nb-NO" smtClean="0">
                <a:solidFill>
                  <a:prstClr val="black">
                    <a:tint val="75000"/>
                  </a:prstClr>
                </a:solidFill>
              </a:rPr>
              <a:pPr>
                <a:buClr>
                  <a:srgbClr val="44546A"/>
                </a:buClr>
              </a:pPr>
              <a:t>‹#›</a:t>
            </a:fld>
            <a:endParaRPr lang="nb-NO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0024253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tellysbilde #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Bilde 8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9054"/>
          <a:stretch/>
        </p:blipFill>
        <p:spPr>
          <a:xfrm>
            <a:off x="-4984" y="3510645"/>
            <a:ext cx="9144000" cy="1632856"/>
          </a:xfrm>
          <a:prstGeom prst="rect">
            <a:avLst/>
          </a:prstGeom>
          <a:solidFill>
            <a:srgbClr val="76428D"/>
          </a:solidFill>
        </p:spPr>
      </p:pic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685800" y="3763185"/>
            <a:ext cx="7772400" cy="402279"/>
          </a:xfrm>
        </p:spPr>
        <p:txBody>
          <a:bodyPr>
            <a:spAutoFit/>
          </a:bodyPr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nb-NO" smtClean="0"/>
              <a:t>Klikk for å redigere tittelstil</a:t>
            </a:r>
            <a:endParaRPr lang="nb-NO" dirty="0"/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685800" y="4139618"/>
            <a:ext cx="7772400" cy="279168"/>
          </a:xfrm>
        </p:spPr>
        <p:txBody>
          <a:bodyPr wrap="square">
            <a:spAutoFit/>
          </a:bodyPr>
          <a:lstStyle>
            <a:lvl1pPr marL="0" indent="0" algn="l">
              <a:buNone/>
              <a:defRPr>
                <a:solidFill>
                  <a:schemeClr val="bg1"/>
                </a:solidFill>
              </a:defRPr>
            </a:lvl1pPr>
            <a:lvl2pPr marL="4571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29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5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7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8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03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1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b-NO" smtClean="0"/>
              <a:t>Klikk for å redigere undertittelstil i malen</a:t>
            </a:r>
            <a:endParaRPr lang="nb-NO" dirty="0"/>
          </a:p>
        </p:txBody>
      </p:sp>
      <p:sp>
        <p:nvSpPr>
          <p:cNvPr id="13" name="Plassholder for bilde 2"/>
          <p:cNvSpPr>
            <a:spLocks noGrp="1"/>
          </p:cNvSpPr>
          <p:nvPr>
            <p:ph type="pic" idx="10"/>
          </p:nvPr>
        </p:nvSpPr>
        <p:spPr>
          <a:xfrm>
            <a:off x="0" y="1979"/>
            <a:ext cx="9144000" cy="3131815"/>
          </a:xfrm>
        </p:spPr>
        <p:txBody>
          <a:bodyPr/>
          <a:lstStyle>
            <a:lvl1pPr marL="0" indent="0">
              <a:buNone/>
              <a:defRPr sz="3200"/>
            </a:lvl1pPr>
            <a:lvl2pPr marL="457148" indent="0">
              <a:buNone/>
              <a:defRPr sz="2800"/>
            </a:lvl2pPr>
            <a:lvl3pPr marL="914296" indent="0">
              <a:buNone/>
              <a:defRPr sz="2400"/>
            </a:lvl3pPr>
            <a:lvl4pPr marL="1371444" indent="0">
              <a:buNone/>
              <a:defRPr sz="2000"/>
            </a:lvl4pPr>
            <a:lvl5pPr marL="1828592" indent="0">
              <a:buNone/>
              <a:defRPr sz="2000"/>
            </a:lvl5pPr>
            <a:lvl6pPr marL="2285740" indent="0">
              <a:buNone/>
              <a:defRPr sz="2000"/>
            </a:lvl6pPr>
            <a:lvl7pPr marL="2742888" indent="0">
              <a:buNone/>
              <a:defRPr sz="2000"/>
            </a:lvl7pPr>
            <a:lvl8pPr marL="3200036" indent="0">
              <a:buNone/>
              <a:defRPr sz="2000"/>
            </a:lvl8pPr>
            <a:lvl9pPr marL="3657184" indent="0">
              <a:buNone/>
              <a:defRPr sz="2000"/>
            </a:lvl9pPr>
          </a:lstStyle>
          <a:p>
            <a:r>
              <a:rPr lang="nb-NO" smtClean="0"/>
              <a:t>Klikk ikonet for å legge til et bilde</a:t>
            </a:r>
            <a:endParaRPr lang="nb-NO" dirty="0"/>
          </a:p>
        </p:txBody>
      </p:sp>
      <p:pic>
        <p:nvPicPr>
          <p:cNvPr id="7" name="Bilde 6"/>
          <p:cNvPicPr>
            <a:picLocks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7806" y="3208560"/>
            <a:ext cx="1682357" cy="228581"/>
          </a:xfrm>
          <a:prstGeom prst="rect">
            <a:avLst/>
          </a:prstGeom>
        </p:spPr>
      </p:pic>
      <p:sp>
        <p:nvSpPr>
          <p:cNvPr id="8" name="Plassholder for tekst 4"/>
          <p:cNvSpPr>
            <a:spLocks noGrp="1"/>
          </p:cNvSpPr>
          <p:nvPr>
            <p:ph type="body" sz="quarter" idx="11" hasCustomPrompt="1"/>
          </p:nvPr>
        </p:nvSpPr>
        <p:spPr>
          <a:xfrm>
            <a:off x="685721" y="4804010"/>
            <a:ext cx="7772479" cy="309946"/>
          </a:xfrm>
        </p:spPr>
        <p:txBody>
          <a:bodyPr wrap="square" anchor="b" anchorCtr="0">
            <a:sp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nb-NO" smtClean="0"/>
              <a:t>Sted, dato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504503541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e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630115" y="342900"/>
            <a:ext cx="2948354" cy="1200150"/>
          </a:xfrm>
        </p:spPr>
        <p:txBody>
          <a:bodyPr anchor="b"/>
          <a:lstStyle>
            <a:lvl1pPr>
              <a:defRPr sz="2700"/>
            </a:lvl1pPr>
          </a:lstStyle>
          <a:p>
            <a:r>
              <a:rPr lang="nb-NO" smtClean="0"/>
              <a:t>Klikk for å redigere tittelstil</a:t>
            </a:r>
            <a:endParaRPr lang="nb-NO"/>
          </a:p>
        </p:txBody>
      </p:sp>
      <p:sp>
        <p:nvSpPr>
          <p:cNvPr id="3" name="Plassholder for bilde 2"/>
          <p:cNvSpPr>
            <a:spLocks noGrp="1"/>
          </p:cNvSpPr>
          <p:nvPr>
            <p:ph type="pic" idx="1"/>
          </p:nvPr>
        </p:nvSpPr>
        <p:spPr>
          <a:xfrm>
            <a:off x="3887666" y="740569"/>
            <a:ext cx="4629150" cy="3655219"/>
          </a:xfrm>
        </p:spPr>
        <p:txBody>
          <a:bodyPr/>
          <a:lstStyle>
            <a:lvl1pPr marL="0" indent="0">
              <a:buNone/>
              <a:defRPr sz="2700"/>
            </a:lvl1pPr>
            <a:lvl2pPr marL="389626" indent="0">
              <a:buNone/>
              <a:defRPr sz="2400"/>
            </a:lvl2pPr>
            <a:lvl3pPr marL="779252" indent="0">
              <a:buNone/>
              <a:defRPr sz="2000"/>
            </a:lvl3pPr>
            <a:lvl4pPr marL="1168878" indent="0">
              <a:buNone/>
              <a:defRPr sz="1700"/>
            </a:lvl4pPr>
            <a:lvl5pPr marL="1558503" indent="0">
              <a:buNone/>
              <a:defRPr sz="1700"/>
            </a:lvl5pPr>
            <a:lvl6pPr marL="1948129" indent="0">
              <a:buNone/>
              <a:defRPr sz="1700"/>
            </a:lvl6pPr>
            <a:lvl7pPr marL="2337755" indent="0">
              <a:buNone/>
              <a:defRPr sz="1700"/>
            </a:lvl7pPr>
            <a:lvl8pPr marL="2727381" indent="0">
              <a:buNone/>
              <a:defRPr sz="1700"/>
            </a:lvl8pPr>
            <a:lvl9pPr marL="3117007" indent="0">
              <a:buNone/>
              <a:defRPr sz="1700"/>
            </a:lvl9pPr>
          </a:lstStyle>
          <a:p>
            <a:endParaRPr lang="nb-NO"/>
          </a:p>
        </p:txBody>
      </p:sp>
      <p:sp>
        <p:nvSpPr>
          <p:cNvPr id="4" name="Plassholder for tekst 3"/>
          <p:cNvSpPr>
            <a:spLocks noGrp="1"/>
          </p:cNvSpPr>
          <p:nvPr>
            <p:ph type="body" sz="half" idx="2"/>
          </p:nvPr>
        </p:nvSpPr>
        <p:spPr>
          <a:xfrm>
            <a:off x="630115" y="1543050"/>
            <a:ext cx="2948354" cy="2858691"/>
          </a:xfrm>
        </p:spPr>
        <p:txBody>
          <a:bodyPr/>
          <a:lstStyle>
            <a:lvl1pPr marL="0" indent="0">
              <a:buNone/>
              <a:defRPr sz="1400"/>
            </a:lvl1pPr>
            <a:lvl2pPr marL="389626" indent="0">
              <a:buNone/>
              <a:defRPr sz="1200"/>
            </a:lvl2pPr>
            <a:lvl3pPr marL="779252" indent="0">
              <a:buNone/>
              <a:defRPr sz="1000"/>
            </a:lvl3pPr>
            <a:lvl4pPr marL="1168878" indent="0">
              <a:buNone/>
              <a:defRPr sz="900"/>
            </a:lvl4pPr>
            <a:lvl5pPr marL="1558503" indent="0">
              <a:buNone/>
              <a:defRPr sz="900"/>
            </a:lvl5pPr>
            <a:lvl6pPr marL="1948129" indent="0">
              <a:buNone/>
              <a:defRPr sz="900"/>
            </a:lvl6pPr>
            <a:lvl7pPr marL="2337755" indent="0">
              <a:buNone/>
              <a:defRPr sz="900"/>
            </a:lvl7pPr>
            <a:lvl8pPr marL="2727381" indent="0">
              <a:buNone/>
              <a:defRPr sz="900"/>
            </a:lvl8pPr>
            <a:lvl9pPr marL="3117007" indent="0">
              <a:buNone/>
              <a:defRPr sz="900"/>
            </a:lvl9pPr>
          </a:lstStyle>
          <a:p>
            <a:pPr lvl="0"/>
            <a:r>
              <a:rPr lang="nb-NO" smtClean="0"/>
              <a:t>Klikk for å redigere tekststiler i malen</a:t>
            </a:r>
          </a:p>
        </p:txBody>
      </p:sp>
      <p:sp>
        <p:nvSpPr>
          <p:cNvPr id="5" name="Plassholder for dato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buClr>
                <a:srgbClr val="44546A"/>
              </a:buClr>
            </a:pPr>
            <a:fld id="{57CDDEFD-23F0-42EB-B054-95271AF0C6FD}" type="datetimeFigureOut">
              <a:rPr lang="nb-NO" smtClean="0">
                <a:solidFill>
                  <a:prstClr val="black">
                    <a:tint val="75000"/>
                  </a:prstClr>
                </a:solidFill>
              </a:rPr>
              <a:pPr>
                <a:buClr>
                  <a:srgbClr val="44546A"/>
                </a:buClr>
              </a:pPr>
              <a:t>13.09.2015</a:t>
            </a:fld>
            <a:endParaRPr lang="nb-N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buClr>
                <a:srgbClr val="44546A"/>
              </a:buClr>
            </a:pPr>
            <a:endParaRPr lang="nb-N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buClr>
                <a:srgbClr val="44546A"/>
              </a:buClr>
            </a:pPr>
            <a:fld id="{1C4D0B95-3711-4744-9B0D-35971583D887}" type="slidenum">
              <a:rPr lang="nb-NO" smtClean="0">
                <a:solidFill>
                  <a:prstClr val="black">
                    <a:tint val="75000"/>
                  </a:prstClr>
                </a:solidFill>
              </a:rPr>
              <a:pPr>
                <a:buClr>
                  <a:srgbClr val="44546A"/>
                </a:buClr>
              </a:pPr>
              <a:t>‹#›</a:t>
            </a:fld>
            <a:endParaRPr lang="nb-NO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80505270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Loddrett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smtClean="0"/>
              <a:t>Klikk for å redigere tittelstil</a:t>
            </a:r>
            <a:endParaRPr lang="nb-NO"/>
          </a:p>
        </p:txBody>
      </p:sp>
      <p:sp>
        <p:nvSpPr>
          <p:cNvPr id="3" name="Plassholder for loddrett tekst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nb-NO" smtClean="0"/>
              <a:t>Klikk for å redigere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  <a:p>
            <a:pPr lvl="3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nb-NO"/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buClr>
                <a:srgbClr val="44546A"/>
              </a:buClr>
            </a:pPr>
            <a:fld id="{57CDDEFD-23F0-42EB-B054-95271AF0C6FD}" type="datetimeFigureOut">
              <a:rPr lang="nb-NO" smtClean="0">
                <a:solidFill>
                  <a:prstClr val="black">
                    <a:tint val="75000"/>
                  </a:prstClr>
                </a:solidFill>
              </a:rPr>
              <a:pPr>
                <a:buClr>
                  <a:srgbClr val="44546A"/>
                </a:buClr>
              </a:pPr>
              <a:t>13.09.2015</a:t>
            </a:fld>
            <a:endParaRPr lang="nb-N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buClr>
                <a:srgbClr val="44546A"/>
              </a:buClr>
            </a:pPr>
            <a:endParaRPr lang="nb-N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buClr>
                <a:srgbClr val="44546A"/>
              </a:buClr>
            </a:pPr>
            <a:fld id="{1C4D0B95-3711-4744-9B0D-35971583D887}" type="slidenum">
              <a:rPr lang="nb-NO" smtClean="0">
                <a:solidFill>
                  <a:prstClr val="black">
                    <a:tint val="75000"/>
                  </a:prstClr>
                </a:solidFill>
              </a:rPr>
              <a:pPr>
                <a:buClr>
                  <a:srgbClr val="44546A"/>
                </a:buClr>
              </a:pPr>
              <a:t>‹#›</a:t>
            </a:fld>
            <a:endParaRPr lang="nb-NO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28402537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Loddrett tittel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oddrett tittel 1"/>
          <p:cNvSpPr>
            <a:spLocks noGrp="1"/>
          </p:cNvSpPr>
          <p:nvPr>
            <p:ph type="title" orient="vert"/>
          </p:nvPr>
        </p:nvSpPr>
        <p:spPr>
          <a:xfrm>
            <a:off x="6544408" y="273844"/>
            <a:ext cx="1970943" cy="4358879"/>
          </a:xfrm>
        </p:spPr>
        <p:txBody>
          <a:bodyPr vert="eaVert"/>
          <a:lstStyle/>
          <a:p>
            <a:r>
              <a:rPr lang="nb-NO" smtClean="0"/>
              <a:t>Klikk for å redigere tittelstil</a:t>
            </a:r>
            <a:endParaRPr lang="nb-NO"/>
          </a:p>
        </p:txBody>
      </p:sp>
      <p:sp>
        <p:nvSpPr>
          <p:cNvPr id="3" name="Plassholder for loddrett tekst 2"/>
          <p:cNvSpPr>
            <a:spLocks noGrp="1"/>
          </p:cNvSpPr>
          <p:nvPr>
            <p:ph type="body" orient="vert" idx="1"/>
          </p:nvPr>
        </p:nvSpPr>
        <p:spPr>
          <a:xfrm>
            <a:off x="628651" y="273844"/>
            <a:ext cx="5775080" cy="4358879"/>
          </a:xfrm>
        </p:spPr>
        <p:txBody>
          <a:bodyPr vert="eaVert"/>
          <a:lstStyle/>
          <a:p>
            <a:pPr lvl="0"/>
            <a:r>
              <a:rPr lang="nb-NO" smtClean="0"/>
              <a:t>Klikk for å redigere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  <a:p>
            <a:pPr lvl="3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nb-NO"/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buClr>
                <a:srgbClr val="44546A"/>
              </a:buClr>
            </a:pPr>
            <a:fld id="{57CDDEFD-23F0-42EB-B054-95271AF0C6FD}" type="datetimeFigureOut">
              <a:rPr lang="nb-NO" smtClean="0">
                <a:solidFill>
                  <a:prstClr val="black">
                    <a:tint val="75000"/>
                  </a:prstClr>
                </a:solidFill>
              </a:rPr>
              <a:pPr>
                <a:buClr>
                  <a:srgbClr val="44546A"/>
                </a:buClr>
              </a:pPr>
              <a:t>13.09.2015</a:t>
            </a:fld>
            <a:endParaRPr lang="nb-N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buClr>
                <a:srgbClr val="44546A"/>
              </a:buClr>
            </a:pPr>
            <a:endParaRPr lang="nb-N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buClr>
                <a:srgbClr val="44546A"/>
              </a:buClr>
            </a:pPr>
            <a:fld id="{1C4D0B95-3711-4744-9B0D-35971583D887}" type="slidenum">
              <a:rPr lang="nb-NO" smtClean="0">
                <a:solidFill>
                  <a:prstClr val="black">
                    <a:tint val="75000"/>
                  </a:prstClr>
                </a:solidFill>
              </a:rPr>
              <a:pPr>
                <a:buClr>
                  <a:srgbClr val="44546A"/>
                </a:buClr>
              </a:pPr>
              <a:t>‹#›</a:t>
            </a:fld>
            <a:endParaRPr lang="nb-NO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5262839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tellys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1143000" y="841772"/>
            <a:ext cx="6858000" cy="1790700"/>
          </a:xfrm>
        </p:spPr>
        <p:txBody>
          <a:bodyPr anchor="b"/>
          <a:lstStyle>
            <a:lvl1pPr algn="ctr">
              <a:defRPr sz="5100"/>
            </a:lvl1pPr>
          </a:lstStyle>
          <a:p>
            <a:r>
              <a:rPr lang="nb-NO" smtClean="0"/>
              <a:t>Klikk for å redigere tittelstil</a:t>
            </a:r>
            <a:endParaRPr lang="nb-NO"/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1143000" y="2701528"/>
            <a:ext cx="6858000" cy="1241822"/>
          </a:xfrm>
        </p:spPr>
        <p:txBody>
          <a:bodyPr/>
          <a:lstStyle>
            <a:lvl1pPr marL="0" indent="0" algn="ctr">
              <a:buNone/>
              <a:defRPr sz="2000"/>
            </a:lvl1pPr>
            <a:lvl2pPr marL="389582" indent="0" algn="ctr">
              <a:buNone/>
              <a:defRPr sz="1700"/>
            </a:lvl2pPr>
            <a:lvl3pPr marL="779163" indent="0" algn="ctr">
              <a:buNone/>
              <a:defRPr sz="1500"/>
            </a:lvl3pPr>
            <a:lvl4pPr marL="1168745" indent="0" algn="ctr">
              <a:buNone/>
              <a:defRPr sz="1400"/>
            </a:lvl4pPr>
            <a:lvl5pPr marL="1558326" indent="0" algn="ctr">
              <a:buNone/>
              <a:defRPr sz="1400"/>
            </a:lvl5pPr>
            <a:lvl6pPr marL="1947908" indent="0" algn="ctr">
              <a:buNone/>
              <a:defRPr sz="1400"/>
            </a:lvl6pPr>
            <a:lvl7pPr marL="2337489" indent="0" algn="ctr">
              <a:buNone/>
              <a:defRPr sz="1400"/>
            </a:lvl7pPr>
            <a:lvl8pPr marL="2727071" indent="0" algn="ctr">
              <a:buNone/>
              <a:defRPr sz="1400"/>
            </a:lvl8pPr>
            <a:lvl9pPr marL="3116652" indent="0" algn="ctr">
              <a:buNone/>
              <a:defRPr sz="1400"/>
            </a:lvl9pPr>
          </a:lstStyle>
          <a:p>
            <a:r>
              <a:rPr lang="nb-NO" smtClean="0"/>
              <a:t>Klikk for å redigere undertittelstil i malen</a:t>
            </a:r>
            <a:endParaRPr lang="nb-NO"/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buClr>
                <a:srgbClr val="44546A"/>
              </a:buClr>
            </a:pPr>
            <a:fld id="{57CDDEFD-23F0-42EB-B054-95271AF0C6FD}" type="datetimeFigureOut">
              <a:rPr lang="nb-NO" smtClean="0">
                <a:solidFill>
                  <a:prstClr val="black">
                    <a:tint val="75000"/>
                  </a:prstClr>
                </a:solidFill>
              </a:rPr>
              <a:pPr>
                <a:buClr>
                  <a:srgbClr val="44546A"/>
                </a:buClr>
              </a:pPr>
              <a:t>13.09.2015</a:t>
            </a:fld>
            <a:endParaRPr lang="nb-N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buClr>
                <a:srgbClr val="44546A"/>
              </a:buClr>
            </a:pPr>
            <a:endParaRPr lang="nb-N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buClr>
                <a:srgbClr val="44546A"/>
              </a:buClr>
            </a:pPr>
            <a:fld id="{1C4D0B95-3711-4744-9B0D-35971583D887}" type="slidenum">
              <a:rPr lang="nb-NO" smtClean="0">
                <a:solidFill>
                  <a:prstClr val="black">
                    <a:tint val="75000"/>
                  </a:prstClr>
                </a:solidFill>
              </a:rPr>
              <a:pPr>
                <a:buClr>
                  <a:srgbClr val="44546A"/>
                </a:buClr>
              </a:pPr>
              <a:t>‹#›</a:t>
            </a:fld>
            <a:endParaRPr lang="nb-NO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8824963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628652" y="273844"/>
            <a:ext cx="6835502" cy="684944"/>
          </a:xfrm>
        </p:spPr>
        <p:txBody>
          <a:bodyPr>
            <a:normAutofit/>
          </a:bodyPr>
          <a:lstStyle>
            <a:lvl1pPr>
              <a:defRPr sz="2400" b="1">
                <a:solidFill>
                  <a:srgbClr val="7030A0"/>
                </a:solidFill>
                <a:latin typeface="+mn-lt"/>
              </a:defRPr>
            </a:lvl1pPr>
          </a:lstStyle>
          <a:p>
            <a:r>
              <a:rPr lang="nb-NO" smtClean="0"/>
              <a:t>Klikk for å redigere tittelstil</a:t>
            </a:r>
            <a:endParaRPr lang="nb-NO"/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628650" y="1111930"/>
            <a:ext cx="8106977" cy="3329126"/>
          </a:xfrm>
        </p:spPr>
        <p:txBody>
          <a:bodyPr>
            <a:normAutofit/>
          </a:bodyPr>
          <a:lstStyle>
            <a:lvl1pPr>
              <a:defRPr sz="1700"/>
            </a:lvl1pPr>
            <a:lvl2pPr>
              <a:defRPr sz="15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nb-NO" dirty="0" smtClean="0"/>
              <a:t>Klikk for å redigere tekststiler i malen</a:t>
            </a:r>
          </a:p>
          <a:p>
            <a:pPr lvl="1"/>
            <a:r>
              <a:rPr lang="nb-NO" dirty="0" smtClean="0"/>
              <a:t>Andre nivå</a:t>
            </a:r>
          </a:p>
          <a:p>
            <a:pPr lvl="2"/>
            <a:r>
              <a:rPr lang="nb-NO" dirty="0" smtClean="0"/>
              <a:t>Tredje nivå</a:t>
            </a:r>
          </a:p>
          <a:p>
            <a:pPr lvl="3"/>
            <a:r>
              <a:rPr lang="nb-NO" dirty="0" smtClean="0"/>
              <a:t>Fjerde nivå</a:t>
            </a:r>
          </a:p>
          <a:p>
            <a:pPr lvl="4"/>
            <a:r>
              <a:rPr lang="nb-NO" dirty="0" smtClean="0"/>
              <a:t>Femte nivå</a:t>
            </a:r>
            <a:endParaRPr lang="nb-NO" dirty="0"/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>
          <a:xfrm>
            <a:off x="628652" y="4767264"/>
            <a:ext cx="1642459" cy="273844"/>
          </a:xfrm>
        </p:spPr>
        <p:txBody>
          <a:bodyPr/>
          <a:lstStyle/>
          <a:p>
            <a:pPr>
              <a:buClr>
                <a:srgbClr val="44546A"/>
              </a:buClr>
            </a:pPr>
            <a:fld id="{57CDDEFD-23F0-42EB-B054-95271AF0C6FD}" type="datetimeFigureOut">
              <a:rPr lang="nb-NO" smtClean="0">
                <a:solidFill>
                  <a:prstClr val="black">
                    <a:tint val="75000"/>
                  </a:prstClr>
                </a:solidFill>
              </a:rPr>
              <a:pPr>
                <a:buClr>
                  <a:srgbClr val="44546A"/>
                </a:buClr>
              </a:pPr>
              <a:t>13.09.2015</a:t>
            </a:fld>
            <a:endParaRPr lang="nb-N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buClr>
                <a:srgbClr val="44546A"/>
              </a:buClr>
            </a:pPr>
            <a:endParaRPr lang="nb-N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>
          <a:xfrm>
            <a:off x="8178384" y="4767264"/>
            <a:ext cx="566425" cy="273844"/>
          </a:xfrm>
        </p:spPr>
        <p:txBody>
          <a:bodyPr/>
          <a:lstStyle/>
          <a:p>
            <a:pPr>
              <a:buClr>
                <a:srgbClr val="44546A"/>
              </a:buClr>
            </a:pPr>
            <a:fld id="{1C4D0B95-3711-4744-9B0D-35971583D887}" type="slidenum">
              <a:rPr lang="nb-NO" smtClean="0">
                <a:solidFill>
                  <a:prstClr val="black">
                    <a:tint val="75000"/>
                  </a:prstClr>
                </a:solidFill>
              </a:rPr>
              <a:pPr>
                <a:buClr>
                  <a:srgbClr val="44546A"/>
                </a:buClr>
              </a:pPr>
              <a:t>‹#›</a:t>
            </a:fld>
            <a:endParaRPr lang="nb-NO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7" name="Bilde 6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74924" y="4686022"/>
            <a:ext cx="295209" cy="373832"/>
          </a:xfrm>
          <a:prstGeom prst="rect">
            <a:avLst/>
          </a:prstGeom>
        </p:spPr>
      </p:pic>
      <p:pic>
        <p:nvPicPr>
          <p:cNvPr id="8" name="Bilde 7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82663" y="4834364"/>
            <a:ext cx="800411" cy="233068"/>
          </a:xfrm>
          <a:prstGeom prst="rect">
            <a:avLst/>
          </a:prstGeom>
        </p:spPr>
      </p:pic>
      <p:pic>
        <p:nvPicPr>
          <p:cNvPr id="9" name="Bilde 8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34681" y="4740939"/>
            <a:ext cx="1109247" cy="333152"/>
          </a:xfrm>
          <a:prstGeom prst="rect">
            <a:avLst/>
          </a:prstGeom>
        </p:spPr>
      </p:pic>
      <p:pic>
        <p:nvPicPr>
          <p:cNvPr id="10" name="Bilde 9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04830" y="273845"/>
            <a:ext cx="1130798" cy="4718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6450638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Del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624254" y="1282305"/>
            <a:ext cx="7886700" cy="2139553"/>
          </a:xfrm>
        </p:spPr>
        <p:txBody>
          <a:bodyPr anchor="b"/>
          <a:lstStyle>
            <a:lvl1pPr>
              <a:defRPr sz="5100"/>
            </a:lvl1pPr>
          </a:lstStyle>
          <a:p>
            <a:r>
              <a:rPr lang="nb-NO" smtClean="0"/>
              <a:t>Klikk for å redigere tittelstil</a:t>
            </a:r>
            <a:endParaRPr lang="nb-NO"/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624254" y="3442099"/>
            <a:ext cx="7886700" cy="1125140"/>
          </a:xfrm>
        </p:spPr>
        <p:txBody>
          <a:bodyPr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389582" indent="0">
              <a:buNone/>
              <a:defRPr sz="1700">
                <a:solidFill>
                  <a:schemeClr val="tx1">
                    <a:tint val="75000"/>
                  </a:schemeClr>
                </a:solidFill>
              </a:defRPr>
            </a:lvl2pPr>
            <a:lvl3pPr marL="779163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3pPr>
            <a:lvl4pPr marL="1168745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55832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1947908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337489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2727071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116652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 smtClean="0"/>
              <a:t>Klikk for å redigere tekststiler i malen</a:t>
            </a: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buClr>
                <a:srgbClr val="44546A"/>
              </a:buClr>
            </a:pPr>
            <a:fld id="{57CDDEFD-23F0-42EB-B054-95271AF0C6FD}" type="datetimeFigureOut">
              <a:rPr lang="nb-NO" smtClean="0">
                <a:solidFill>
                  <a:prstClr val="black">
                    <a:tint val="75000"/>
                  </a:prstClr>
                </a:solidFill>
              </a:rPr>
              <a:pPr>
                <a:buClr>
                  <a:srgbClr val="44546A"/>
                </a:buClr>
              </a:pPr>
              <a:t>13.09.2015</a:t>
            </a:fld>
            <a:endParaRPr lang="nb-N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buClr>
                <a:srgbClr val="44546A"/>
              </a:buClr>
            </a:pPr>
            <a:endParaRPr lang="nb-N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buClr>
                <a:srgbClr val="44546A"/>
              </a:buClr>
            </a:pPr>
            <a:fld id="{1C4D0B95-3711-4744-9B0D-35971583D887}" type="slidenum">
              <a:rPr lang="nb-NO" smtClean="0">
                <a:solidFill>
                  <a:prstClr val="black">
                    <a:tint val="75000"/>
                  </a:prstClr>
                </a:solidFill>
              </a:rPr>
              <a:pPr>
                <a:buClr>
                  <a:srgbClr val="44546A"/>
                </a:buClr>
              </a:pPr>
              <a:t>‹#›</a:t>
            </a:fld>
            <a:endParaRPr lang="nb-NO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10272176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smtClean="0"/>
              <a:t>Klikk for å redigere tittelstil</a:t>
            </a:r>
            <a:endParaRPr lang="nb-NO"/>
          </a:p>
        </p:txBody>
      </p:sp>
      <p:sp>
        <p:nvSpPr>
          <p:cNvPr id="3" name="Plassholder for innhold 2"/>
          <p:cNvSpPr>
            <a:spLocks noGrp="1"/>
          </p:cNvSpPr>
          <p:nvPr>
            <p:ph sz="half" idx="1"/>
          </p:nvPr>
        </p:nvSpPr>
        <p:spPr>
          <a:xfrm>
            <a:off x="628651" y="1369219"/>
            <a:ext cx="3873011" cy="3263504"/>
          </a:xfrm>
        </p:spPr>
        <p:txBody>
          <a:bodyPr/>
          <a:lstStyle/>
          <a:p>
            <a:pPr lvl="0"/>
            <a:r>
              <a:rPr lang="nb-NO" smtClean="0"/>
              <a:t>Klikk for å redigere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  <a:p>
            <a:pPr lvl="3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nb-NO"/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4642340" y="1369219"/>
            <a:ext cx="3873012" cy="3263504"/>
          </a:xfrm>
        </p:spPr>
        <p:txBody>
          <a:bodyPr/>
          <a:lstStyle/>
          <a:p>
            <a:pPr lvl="0"/>
            <a:r>
              <a:rPr lang="nb-NO" smtClean="0"/>
              <a:t>Klikk for å redigere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  <a:p>
            <a:pPr lvl="3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nb-NO"/>
          </a:p>
        </p:txBody>
      </p:sp>
      <p:sp>
        <p:nvSpPr>
          <p:cNvPr id="5" name="Plassholder for dato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buClr>
                <a:srgbClr val="44546A"/>
              </a:buClr>
            </a:pPr>
            <a:fld id="{57CDDEFD-23F0-42EB-B054-95271AF0C6FD}" type="datetimeFigureOut">
              <a:rPr lang="nb-NO" smtClean="0">
                <a:solidFill>
                  <a:prstClr val="black">
                    <a:tint val="75000"/>
                  </a:prstClr>
                </a:solidFill>
              </a:rPr>
              <a:pPr>
                <a:buClr>
                  <a:srgbClr val="44546A"/>
                </a:buClr>
              </a:pPr>
              <a:t>13.09.2015</a:t>
            </a:fld>
            <a:endParaRPr lang="nb-N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buClr>
                <a:srgbClr val="44546A"/>
              </a:buClr>
            </a:pPr>
            <a:endParaRPr lang="nb-N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buClr>
                <a:srgbClr val="44546A"/>
              </a:buClr>
            </a:pPr>
            <a:fld id="{1C4D0B95-3711-4744-9B0D-35971583D887}" type="slidenum">
              <a:rPr lang="nb-NO" smtClean="0">
                <a:solidFill>
                  <a:prstClr val="black">
                    <a:tint val="75000"/>
                  </a:prstClr>
                </a:solidFill>
              </a:rPr>
              <a:pPr>
                <a:buClr>
                  <a:srgbClr val="44546A"/>
                </a:buClr>
              </a:pPr>
              <a:t>‹#›</a:t>
            </a:fld>
            <a:endParaRPr lang="nb-NO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96934639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630117" y="273844"/>
            <a:ext cx="7886700" cy="994172"/>
          </a:xfrm>
        </p:spPr>
        <p:txBody>
          <a:bodyPr/>
          <a:lstStyle/>
          <a:p>
            <a:r>
              <a:rPr lang="nb-NO" smtClean="0"/>
              <a:t>Klikk for å redigere tittelstil</a:t>
            </a:r>
            <a:endParaRPr lang="nb-NO"/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630117" y="1260872"/>
            <a:ext cx="3868615" cy="617934"/>
          </a:xfrm>
        </p:spPr>
        <p:txBody>
          <a:bodyPr anchor="b"/>
          <a:lstStyle>
            <a:lvl1pPr marL="0" indent="0">
              <a:buNone/>
              <a:defRPr sz="2000" b="1"/>
            </a:lvl1pPr>
            <a:lvl2pPr marL="389582" indent="0">
              <a:buNone/>
              <a:defRPr sz="1700" b="1"/>
            </a:lvl2pPr>
            <a:lvl3pPr marL="779163" indent="0">
              <a:buNone/>
              <a:defRPr sz="1500" b="1"/>
            </a:lvl3pPr>
            <a:lvl4pPr marL="1168745" indent="0">
              <a:buNone/>
              <a:defRPr sz="1400" b="1"/>
            </a:lvl4pPr>
            <a:lvl5pPr marL="1558326" indent="0">
              <a:buNone/>
              <a:defRPr sz="1400" b="1"/>
            </a:lvl5pPr>
            <a:lvl6pPr marL="1947908" indent="0">
              <a:buNone/>
              <a:defRPr sz="1400" b="1"/>
            </a:lvl6pPr>
            <a:lvl7pPr marL="2337489" indent="0">
              <a:buNone/>
              <a:defRPr sz="1400" b="1"/>
            </a:lvl7pPr>
            <a:lvl8pPr marL="2727071" indent="0">
              <a:buNone/>
              <a:defRPr sz="1400" b="1"/>
            </a:lvl8pPr>
            <a:lvl9pPr marL="3116652" indent="0">
              <a:buNone/>
              <a:defRPr sz="1400" b="1"/>
            </a:lvl9pPr>
          </a:lstStyle>
          <a:p>
            <a:pPr lvl="0"/>
            <a:r>
              <a:rPr lang="nb-NO" smtClean="0"/>
              <a:t>Klikk for å redigere tekststiler i malen</a:t>
            </a:r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630117" y="1878806"/>
            <a:ext cx="3868615" cy="2763441"/>
          </a:xfrm>
        </p:spPr>
        <p:txBody>
          <a:bodyPr/>
          <a:lstStyle/>
          <a:p>
            <a:pPr lvl="0"/>
            <a:r>
              <a:rPr lang="nb-NO" smtClean="0"/>
              <a:t>Klikk for å redigere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  <a:p>
            <a:pPr lvl="3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nb-NO"/>
          </a:p>
        </p:txBody>
      </p:sp>
      <p:sp>
        <p:nvSpPr>
          <p:cNvPr id="5" name="Plassholder for tekst 4"/>
          <p:cNvSpPr>
            <a:spLocks noGrp="1"/>
          </p:cNvSpPr>
          <p:nvPr>
            <p:ph type="body" sz="quarter" idx="3"/>
          </p:nvPr>
        </p:nvSpPr>
        <p:spPr>
          <a:xfrm>
            <a:off x="4629152" y="1260872"/>
            <a:ext cx="3887665" cy="617934"/>
          </a:xfrm>
        </p:spPr>
        <p:txBody>
          <a:bodyPr anchor="b"/>
          <a:lstStyle>
            <a:lvl1pPr marL="0" indent="0">
              <a:buNone/>
              <a:defRPr sz="2000" b="1"/>
            </a:lvl1pPr>
            <a:lvl2pPr marL="389582" indent="0">
              <a:buNone/>
              <a:defRPr sz="1700" b="1"/>
            </a:lvl2pPr>
            <a:lvl3pPr marL="779163" indent="0">
              <a:buNone/>
              <a:defRPr sz="1500" b="1"/>
            </a:lvl3pPr>
            <a:lvl4pPr marL="1168745" indent="0">
              <a:buNone/>
              <a:defRPr sz="1400" b="1"/>
            </a:lvl4pPr>
            <a:lvl5pPr marL="1558326" indent="0">
              <a:buNone/>
              <a:defRPr sz="1400" b="1"/>
            </a:lvl5pPr>
            <a:lvl6pPr marL="1947908" indent="0">
              <a:buNone/>
              <a:defRPr sz="1400" b="1"/>
            </a:lvl6pPr>
            <a:lvl7pPr marL="2337489" indent="0">
              <a:buNone/>
              <a:defRPr sz="1400" b="1"/>
            </a:lvl7pPr>
            <a:lvl8pPr marL="2727071" indent="0">
              <a:buNone/>
              <a:defRPr sz="1400" b="1"/>
            </a:lvl8pPr>
            <a:lvl9pPr marL="3116652" indent="0">
              <a:buNone/>
              <a:defRPr sz="1400" b="1"/>
            </a:lvl9pPr>
          </a:lstStyle>
          <a:p>
            <a:pPr lvl="0"/>
            <a:r>
              <a:rPr lang="nb-NO" smtClean="0"/>
              <a:t>Klikk for å redigere tekststiler i malen</a:t>
            </a:r>
          </a:p>
        </p:txBody>
      </p:sp>
      <p:sp>
        <p:nvSpPr>
          <p:cNvPr id="6" name="Plassholder for innhold 5"/>
          <p:cNvSpPr>
            <a:spLocks noGrp="1"/>
          </p:cNvSpPr>
          <p:nvPr>
            <p:ph sz="quarter" idx="4"/>
          </p:nvPr>
        </p:nvSpPr>
        <p:spPr>
          <a:xfrm>
            <a:off x="4629152" y="1878806"/>
            <a:ext cx="3887665" cy="2763441"/>
          </a:xfrm>
        </p:spPr>
        <p:txBody>
          <a:bodyPr/>
          <a:lstStyle/>
          <a:p>
            <a:pPr lvl="0"/>
            <a:r>
              <a:rPr lang="nb-NO" smtClean="0"/>
              <a:t>Klikk for å redigere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  <a:p>
            <a:pPr lvl="3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nb-NO"/>
          </a:p>
        </p:txBody>
      </p:sp>
      <p:sp>
        <p:nvSpPr>
          <p:cNvPr id="7" name="Plassholder for dato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buClr>
                <a:srgbClr val="44546A"/>
              </a:buClr>
            </a:pPr>
            <a:fld id="{57CDDEFD-23F0-42EB-B054-95271AF0C6FD}" type="datetimeFigureOut">
              <a:rPr lang="nb-NO" smtClean="0">
                <a:solidFill>
                  <a:prstClr val="black">
                    <a:tint val="75000"/>
                  </a:prstClr>
                </a:solidFill>
              </a:rPr>
              <a:pPr>
                <a:buClr>
                  <a:srgbClr val="44546A"/>
                </a:buClr>
              </a:pPr>
              <a:t>13.09.2015</a:t>
            </a:fld>
            <a:endParaRPr lang="nb-N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Plassholder for bunntekst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buClr>
                <a:srgbClr val="44546A"/>
              </a:buClr>
            </a:pPr>
            <a:endParaRPr lang="nb-N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Plassholder for lysbildenumm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buClr>
                <a:srgbClr val="44546A"/>
              </a:buClr>
            </a:pPr>
            <a:fld id="{1C4D0B95-3711-4744-9B0D-35971583D887}" type="slidenum">
              <a:rPr lang="nb-NO" smtClean="0">
                <a:solidFill>
                  <a:prstClr val="black">
                    <a:tint val="75000"/>
                  </a:prstClr>
                </a:solidFill>
              </a:rPr>
              <a:pPr>
                <a:buClr>
                  <a:srgbClr val="44546A"/>
                </a:buClr>
              </a:pPr>
              <a:t>‹#›</a:t>
            </a:fld>
            <a:endParaRPr lang="nb-NO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88393161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smtClean="0"/>
              <a:t>Klikk for å redigere tittelstil</a:t>
            </a:r>
            <a:endParaRPr lang="nb-NO"/>
          </a:p>
        </p:txBody>
      </p:sp>
      <p:sp>
        <p:nvSpPr>
          <p:cNvPr id="3" name="Plassholder for dato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buClr>
                <a:srgbClr val="44546A"/>
              </a:buClr>
            </a:pPr>
            <a:fld id="{57CDDEFD-23F0-42EB-B054-95271AF0C6FD}" type="datetimeFigureOut">
              <a:rPr lang="nb-NO" smtClean="0">
                <a:solidFill>
                  <a:prstClr val="black">
                    <a:tint val="75000"/>
                  </a:prstClr>
                </a:solidFill>
              </a:rPr>
              <a:pPr>
                <a:buClr>
                  <a:srgbClr val="44546A"/>
                </a:buClr>
              </a:pPr>
              <a:t>13.09.2015</a:t>
            </a:fld>
            <a:endParaRPr lang="nb-N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Plassholder for bunntekst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buClr>
                <a:srgbClr val="44546A"/>
              </a:buClr>
            </a:pPr>
            <a:endParaRPr lang="nb-N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Plassholder for lysbilde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buClr>
                <a:srgbClr val="44546A"/>
              </a:buClr>
            </a:pPr>
            <a:fld id="{1C4D0B95-3711-4744-9B0D-35971583D887}" type="slidenum">
              <a:rPr lang="nb-NO" smtClean="0">
                <a:solidFill>
                  <a:prstClr val="black">
                    <a:tint val="75000"/>
                  </a:prstClr>
                </a:solidFill>
              </a:rPr>
              <a:pPr>
                <a:buClr>
                  <a:srgbClr val="44546A"/>
                </a:buClr>
              </a:pPr>
              <a:t>‹#›</a:t>
            </a:fld>
            <a:endParaRPr lang="nb-NO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76954093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dato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buClr>
                <a:srgbClr val="44546A"/>
              </a:buClr>
            </a:pPr>
            <a:fld id="{57CDDEFD-23F0-42EB-B054-95271AF0C6FD}" type="datetimeFigureOut">
              <a:rPr lang="nb-NO" smtClean="0">
                <a:solidFill>
                  <a:prstClr val="black">
                    <a:tint val="75000"/>
                  </a:prstClr>
                </a:solidFill>
              </a:rPr>
              <a:pPr>
                <a:buClr>
                  <a:srgbClr val="44546A"/>
                </a:buClr>
              </a:pPr>
              <a:t>13.09.2015</a:t>
            </a:fld>
            <a:endParaRPr lang="nb-N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Plassholder for bunntekst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buClr>
                <a:srgbClr val="44546A"/>
              </a:buClr>
            </a:pPr>
            <a:endParaRPr lang="nb-N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buClr>
                <a:srgbClr val="44546A"/>
              </a:buClr>
            </a:pPr>
            <a:fld id="{1C4D0B95-3711-4744-9B0D-35971583D887}" type="slidenum">
              <a:rPr lang="nb-NO" smtClean="0">
                <a:solidFill>
                  <a:prstClr val="black">
                    <a:tint val="75000"/>
                  </a:prstClr>
                </a:solidFill>
              </a:rPr>
              <a:pPr>
                <a:buClr>
                  <a:srgbClr val="44546A"/>
                </a:buClr>
              </a:pPr>
              <a:t>‹#›</a:t>
            </a:fld>
            <a:endParaRPr lang="nb-NO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7964434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 Tittellysbilde #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Bilde 7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9054"/>
          <a:stretch/>
        </p:blipFill>
        <p:spPr>
          <a:xfrm>
            <a:off x="-4984" y="3510645"/>
            <a:ext cx="9144000" cy="1632856"/>
          </a:xfrm>
          <a:prstGeom prst="rect">
            <a:avLst/>
          </a:prstGeom>
          <a:solidFill>
            <a:schemeClr val="accent4"/>
          </a:solidFill>
        </p:spPr>
      </p:pic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685800" y="3763185"/>
            <a:ext cx="7772400" cy="402279"/>
          </a:xfrm>
        </p:spPr>
        <p:txBody>
          <a:bodyPr>
            <a:spAutoFit/>
          </a:bodyPr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nb-NO" smtClean="0"/>
              <a:t>Klikk for å redigere tittelstil</a:t>
            </a:r>
            <a:endParaRPr lang="nb-NO" dirty="0"/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685800" y="4139618"/>
            <a:ext cx="7772400" cy="279168"/>
          </a:xfrm>
        </p:spPr>
        <p:txBody>
          <a:bodyPr wrap="square">
            <a:spAutoFit/>
          </a:bodyPr>
          <a:lstStyle>
            <a:lvl1pPr marL="0" indent="0" algn="l">
              <a:buNone/>
              <a:defRPr>
                <a:solidFill>
                  <a:schemeClr val="bg1"/>
                </a:solidFill>
              </a:defRPr>
            </a:lvl1pPr>
            <a:lvl2pPr marL="4571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29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5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7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8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03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1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b-NO" smtClean="0"/>
              <a:t>Klikk for å redigere undertittelstil i malen</a:t>
            </a:r>
            <a:endParaRPr lang="nb-NO" dirty="0"/>
          </a:p>
        </p:txBody>
      </p:sp>
      <p:pic>
        <p:nvPicPr>
          <p:cNvPr id="11" name="Bilde 10"/>
          <p:cNvPicPr>
            <a:picLocks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7806" y="3208560"/>
            <a:ext cx="1682357" cy="228581"/>
          </a:xfrm>
          <a:prstGeom prst="rect">
            <a:avLst/>
          </a:prstGeom>
        </p:spPr>
      </p:pic>
      <p:sp>
        <p:nvSpPr>
          <p:cNvPr id="13" name="Plassholder for bilde 2"/>
          <p:cNvSpPr>
            <a:spLocks noGrp="1"/>
          </p:cNvSpPr>
          <p:nvPr>
            <p:ph type="pic" idx="10"/>
          </p:nvPr>
        </p:nvSpPr>
        <p:spPr>
          <a:xfrm>
            <a:off x="0" y="1979"/>
            <a:ext cx="9144000" cy="3131815"/>
          </a:xfrm>
        </p:spPr>
        <p:txBody>
          <a:bodyPr/>
          <a:lstStyle>
            <a:lvl1pPr marL="0" indent="0">
              <a:buNone/>
              <a:defRPr sz="3200"/>
            </a:lvl1pPr>
            <a:lvl2pPr marL="457148" indent="0">
              <a:buNone/>
              <a:defRPr sz="2800"/>
            </a:lvl2pPr>
            <a:lvl3pPr marL="914296" indent="0">
              <a:buNone/>
              <a:defRPr sz="2400"/>
            </a:lvl3pPr>
            <a:lvl4pPr marL="1371444" indent="0">
              <a:buNone/>
              <a:defRPr sz="2000"/>
            </a:lvl4pPr>
            <a:lvl5pPr marL="1828592" indent="0">
              <a:buNone/>
              <a:defRPr sz="2000"/>
            </a:lvl5pPr>
            <a:lvl6pPr marL="2285740" indent="0">
              <a:buNone/>
              <a:defRPr sz="2000"/>
            </a:lvl6pPr>
            <a:lvl7pPr marL="2742888" indent="0">
              <a:buNone/>
              <a:defRPr sz="2000"/>
            </a:lvl7pPr>
            <a:lvl8pPr marL="3200036" indent="0">
              <a:buNone/>
              <a:defRPr sz="2000"/>
            </a:lvl8pPr>
            <a:lvl9pPr marL="3657184" indent="0">
              <a:buNone/>
              <a:defRPr sz="2000"/>
            </a:lvl9pPr>
          </a:lstStyle>
          <a:p>
            <a:r>
              <a:rPr lang="nb-NO" smtClean="0"/>
              <a:t>Klikk ikonet for å legge til et bilde</a:t>
            </a:r>
            <a:endParaRPr lang="nb-NO" dirty="0"/>
          </a:p>
        </p:txBody>
      </p:sp>
      <p:sp>
        <p:nvSpPr>
          <p:cNvPr id="7" name="Plassholder for tekst 4"/>
          <p:cNvSpPr>
            <a:spLocks noGrp="1"/>
          </p:cNvSpPr>
          <p:nvPr>
            <p:ph type="body" sz="quarter" idx="11" hasCustomPrompt="1"/>
          </p:nvPr>
        </p:nvSpPr>
        <p:spPr>
          <a:xfrm>
            <a:off x="685721" y="4804010"/>
            <a:ext cx="7772479" cy="309946"/>
          </a:xfrm>
        </p:spPr>
        <p:txBody>
          <a:bodyPr wrap="square" anchor="b" anchorCtr="0">
            <a:sp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nb-NO" smtClean="0"/>
              <a:t>Sted, dato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423881294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nhold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630115" y="342900"/>
            <a:ext cx="2948354" cy="1200150"/>
          </a:xfrm>
        </p:spPr>
        <p:txBody>
          <a:bodyPr anchor="b"/>
          <a:lstStyle>
            <a:lvl1pPr>
              <a:defRPr sz="2700"/>
            </a:lvl1pPr>
          </a:lstStyle>
          <a:p>
            <a:r>
              <a:rPr lang="nb-NO" smtClean="0"/>
              <a:t>Klikk for å redigere tittelstil</a:t>
            </a:r>
            <a:endParaRPr lang="nb-NO"/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3887667" y="740570"/>
            <a:ext cx="4629150" cy="3655219"/>
          </a:xfrm>
        </p:spPr>
        <p:txBody>
          <a:bodyPr/>
          <a:lstStyle>
            <a:lvl1pPr>
              <a:defRPr sz="2700"/>
            </a:lvl1pPr>
            <a:lvl2pPr>
              <a:defRPr sz="2400"/>
            </a:lvl2pPr>
            <a:lvl3pPr>
              <a:defRPr sz="2000"/>
            </a:lvl3pPr>
            <a:lvl4pPr>
              <a:defRPr sz="1700"/>
            </a:lvl4pPr>
            <a:lvl5pPr>
              <a:defRPr sz="1700"/>
            </a:lvl5pPr>
            <a:lvl6pPr>
              <a:defRPr sz="1700"/>
            </a:lvl6pPr>
            <a:lvl7pPr>
              <a:defRPr sz="1700"/>
            </a:lvl7pPr>
            <a:lvl8pPr>
              <a:defRPr sz="1700"/>
            </a:lvl8pPr>
            <a:lvl9pPr>
              <a:defRPr sz="1700"/>
            </a:lvl9pPr>
          </a:lstStyle>
          <a:p>
            <a:pPr lvl="0"/>
            <a:r>
              <a:rPr lang="nb-NO" smtClean="0"/>
              <a:t>Klikk for å redigere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  <a:p>
            <a:pPr lvl="3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nb-NO"/>
          </a:p>
        </p:txBody>
      </p:sp>
      <p:sp>
        <p:nvSpPr>
          <p:cNvPr id="4" name="Plassholder for tekst 3"/>
          <p:cNvSpPr>
            <a:spLocks noGrp="1"/>
          </p:cNvSpPr>
          <p:nvPr>
            <p:ph type="body" sz="half" idx="2"/>
          </p:nvPr>
        </p:nvSpPr>
        <p:spPr>
          <a:xfrm>
            <a:off x="630115" y="1543051"/>
            <a:ext cx="2948354" cy="2858691"/>
          </a:xfrm>
        </p:spPr>
        <p:txBody>
          <a:bodyPr/>
          <a:lstStyle>
            <a:lvl1pPr marL="0" indent="0">
              <a:buNone/>
              <a:defRPr sz="1400"/>
            </a:lvl1pPr>
            <a:lvl2pPr marL="389582" indent="0">
              <a:buNone/>
              <a:defRPr sz="1200"/>
            </a:lvl2pPr>
            <a:lvl3pPr marL="779163" indent="0">
              <a:buNone/>
              <a:defRPr sz="1000"/>
            </a:lvl3pPr>
            <a:lvl4pPr marL="1168745" indent="0">
              <a:buNone/>
              <a:defRPr sz="900"/>
            </a:lvl4pPr>
            <a:lvl5pPr marL="1558326" indent="0">
              <a:buNone/>
              <a:defRPr sz="900"/>
            </a:lvl5pPr>
            <a:lvl6pPr marL="1947908" indent="0">
              <a:buNone/>
              <a:defRPr sz="900"/>
            </a:lvl6pPr>
            <a:lvl7pPr marL="2337489" indent="0">
              <a:buNone/>
              <a:defRPr sz="900"/>
            </a:lvl7pPr>
            <a:lvl8pPr marL="2727071" indent="0">
              <a:buNone/>
              <a:defRPr sz="900"/>
            </a:lvl8pPr>
            <a:lvl9pPr marL="3116652" indent="0">
              <a:buNone/>
              <a:defRPr sz="900"/>
            </a:lvl9pPr>
          </a:lstStyle>
          <a:p>
            <a:pPr lvl="0"/>
            <a:r>
              <a:rPr lang="nb-NO" smtClean="0"/>
              <a:t>Klikk for å redigere tekststiler i malen</a:t>
            </a:r>
          </a:p>
        </p:txBody>
      </p:sp>
      <p:sp>
        <p:nvSpPr>
          <p:cNvPr id="5" name="Plassholder for dato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buClr>
                <a:srgbClr val="44546A"/>
              </a:buClr>
            </a:pPr>
            <a:fld id="{57CDDEFD-23F0-42EB-B054-95271AF0C6FD}" type="datetimeFigureOut">
              <a:rPr lang="nb-NO" smtClean="0">
                <a:solidFill>
                  <a:prstClr val="black">
                    <a:tint val="75000"/>
                  </a:prstClr>
                </a:solidFill>
              </a:rPr>
              <a:pPr>
                <a:buClr>
                  <a:srgbClr val="44546A"/>
                </a:buClr>
              </a:pPr>
              <a:t>13.09.2015</a:t>
            </a:fld>
            <a:endParaRPr lang="nb-N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buClr>
                <a:srgbClr val="44546A"/>
              </a:buClr>
            </a:pPr>
            <a:endParaRPr lang="nb-N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buClr>
                <a:srgbClr val="44546A"/>
              </a:buClr>
            </a:pPr>
            <a:fld id="{1C4D0B95-3711-4744-9B0D-35971583D887}" type="slidenum">
              <a:rPr lang="nb-NO" smtClean="0">
                <a:solidFill>
                  <a:prstClr val="black">
                    <a:tint val="75000"/>
                  </a:prstClr>
                </a:solidFill>
              </a:rPr>
              <a:pPr>
                <a:buClr>
                  <a:srgbClr val="44546A"/>
                </a:buClr>
              </a:pPr>
              <a:t>‹#›</a:t>
            </a:fld>
            <a:endParaRPr lang="nb-NO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15299820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e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630115" y="342900"/>
            <a:ext cx="2948354" cy="1200150"/>
          </a:xfrm>
        </p:spPr>
        <p:txBody>
          <a:bodyPr anchor="b"/>
          <a:lstStyle>
            <a:lvl1pPr>
              <a:defRPr sz="2700"/>
            </a:lvl1pPr>
          </a:lstStyle>
          <a:p>
            <a:r>
              <a:rPr lang="nb-NO" smtClean="0"/>
              <a:t>Klikk for å redigere tittelstil</a:t>
            </a:r>
            <a:endParaRPr lang="nb-NO"/>
          </a:p>
        </p:txBody>
      </p:sp>
      <p:sp>
        <p:nvSpPr>
          <p:cNvPr id="3" name="Plassholder for bilde 2"/>
          <p:cNvSpPr>
            <a:spLocks noGrp="1"/>
          </p:cNvSpPr>
          <p:nvPr>
            <p:ph type="pic" idx="1"/>
          </p:nvPr>
        </p:nvSpPr>
        <p:spPr>
          <a:xfrm>
            <a:off x="3887667" y="740570"/>
            <a:ext cx="4629150" cy="3655219"/>
          </a:xfrm>
        </p:spPr>
        <p:txBody>
          <a:bodyPr/>
          <a:lstStyle>
            <a:lvl1pPr marL="0" indent="0">
              <a:buNone/>
              <a:defRPr sz="2700"/>
            </a:lvl1pPr>
            <a:lvl2pPr marL="389582" indent="0">
              <a:buNone/>
              <a:defRPr sz="2400"/>
            </a:lvl2pPr>
            <a:lvl3pPr marL="779163" indent="0">
              <a:buNone/>
              <a:defRPr sz="2000"/>
            </a:lvl3pPr>
            <a:lvl4pPr marL="1168745" indent="0">
              <a:buNone/>
              <a:defRPr sz="1700"/>
            </a:lvl4pPr>
            <a:lvl5pPr marL="1558326" indent="0">
              <a:buNone/>
              <a:defRPr sz="1700"/>
            </a:lvl5pPr>
            <a:lvl6pPr marL="1947908" indent="0">
              <a:buNone/>
              <a:defRPr sz="1700"/>
            </a:lvl6pPr>
            <a:lvl7pPr marL="2337489" indent="0">
              <a:buNone/>
              <a:defRPr sz="1700"/>
            </a:lvl7pPr>
            <a:lvl8pPr marL="2727071" indent="0">
              <a:buNone/>
              <a:defRPr sz="1700"/>
            </a:lvl8pPr>
            <a:lvl9pPr marL="3116652" indent="0">
              <a:buNone/>
              <a:defRPr sz="1700"/>
            </a:lvl9pPr>
          </a:lstStyle>
          <a:p>
            <a:endParaRPr lang="nb-NO"/>
          </a:p>
        </p:txBody>
      </p:sp>
      <p:sp>
        <p:nvSpPr>
          <p:cNvPr id="4" name="Plassholder for tekst 3"/>
          <p:cNvSpPr>
            <a:spLocks noGrp="1"/>
          </p:cNvSpPr>
          <p:nvPr>
            <p:ph type="body" sz="half" idx="2"/>
          </p:nvPr>
        </p:nvSpPr>
        <p:spPr>
          <a:xfrm>
            <a:off x="630115" y="1543051"/>
            <a:ext cx="2948354" cy="2858691"/>
          </a:xfrm>
        </p:spPr>
        <p:txBody>
          <a:bodyPr/>
          <a:lstStyle>
            <a:lvl1pPr marL="0" indent="0">
              <a:buNone/>
              <a:defRPr sz="1400"/>
            </a:lvl1pPr>
            <a:lvl2pPr marL="389582" indent="0">
              <a:buNone/>
              <a:defRPr sz="1200"/>
            </a:lvl2pPr>
            <a:lvl3pPr marL="779163" indent="0">
              <a:buNone/>
              <a:defRPr sz="1000"/>
            </a:lvl3pPr>
            <a:lvl4pPr marL="1168745" indent="0">
              <a:buNone/>
              <a:defRPr sz="900"/>
            </a:lvl4pPr>
            <a:lvl5pPr marL="1558326" indent="0">
              <a:buNone/>
              <a:defRPr sz="900"/>
            </a:lvl5pPr>
            <a:lvl6pPr marL="1947908" indent="0">
              <a:buNone/>
              <a:defRPr sz="900"/>
            </a:lvl6pPr>
            <a:lvl7pPr marL="2337489" indent="0">
              <a:buNone/>
              <a:defRPr sz="900"/>
            </a:lvl7pPr>
            <a:lvl8pPr marL="2727071" indent="0">
              <a:buNone/>
              <a:defRPr sz="900"/>
            </a:lvl8pPr>
            <a:lvl9pPr marL="3116652" indent="0">
              <a:buNone/>
              <a:defRPr sz="900"/>
            </a:lvl9pPr>
          </a:lstStyle>
          <a:p>
            <a:pPr lvl="0"/>
            <a:r>
              <a:rPr lang="nb-NO" smtClean="0"/>
              <a:t>Klikk for å redigere tekststiler i malen</a:t>
            </a:r>
          </a:p>
        </p:txBody>
      </p:sp>
      <p:sp>
        <p:nvSpPr>
          <p:cNvPr id="5" name="Plassholder for dato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buClr>
                <a:srgbClr val="44546A"/>
              </a:buClr>
            </a:pPr>
            <a:fld id="{57CDDEFD-23F0-42EB-B054-95271AF0C6FD}" type="datetimeFigureOut">
              <a:rPr lang="nb-NO" smtClean="0">
                <a:solidFill>
                  <a:prstClr val="black">
                    <a:tint val="75000"/>
                  </a:prstClr>
                </a:solidFill>
              </a:rPr>
              <a:pPr>
                <a:buClr>
                  <a:srgbClr val="44546A"/>
                </a:buClr>
              </a:pPr>
              <a:t>13.09.2015</a:t>
            </a:fld>
            <a:endParaRPr lang="nb-N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buClr>
                <a:srgbClr val="44546A"/>
              </a:buClr>
            </a:pPr>
            <a:endParaRPr lang="nb-N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buClr>
                <a:srgbClr val="44546A"/>
              </a:buClr>
            </a:pPr>
            <a:fld id="{1C4D0B95-3711-4744-9B0D-35971583D887}" type="slidenum">
              <a:rPr lang="nb-NO" smtClean="0">
                <a:solidFill>
                  <a:prstClr val="black">
                    <a:tint val="75000"/>
                  </a:prstClr>
                </a:solidFill>
              </a:rPr>
              <a:pPr>
                <a:buClr>
                  <a:srgbClr val="44546A"/>
                </a:buClr>
              </a:pPr>
              <a:t>‹#›</a:t>
            </a:fld>
            <a:endParaRPr lang="nb-NO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25065041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Loddrett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smtClean="0"/>
              <a:t>Klikk for å redigere tittelstil</a:t>
            </a:r>
            <a:endParaRPr lang="nb-NO"/>
          </a:p>
        </p:txBody>
      </p:sp>
      <p:sp>
        <p:nvSpPr>
          <p:cNvPr id="3" name="Plassholder for loddrett tekst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nb-NO" smtClean="0"/>
              <a:t>Klikk for å redigere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  <a:p>
            <a:pPr lvl="3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nb-NO"/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buClr>
                <a:srgbClr val="44546A"/>
              </a:buClr>
            </a:pPr>
            <a:fld id="{57CDDEFD-23F0-42EB-B054-95271AF0C6FD}" type="datetimeFigureOut">
              <a:rPr lang="nb-NO" smtClean="0">
                <a:solidFill>
                  <a:prstClr val="black">
                    <a:tint val="75000"/>
                  </a:prstClr>
                </a:solidFill>
              </a:rPr>
              <a:pPr>
                <a:buClr>
                  <a:srgbClr val="44546A"/>
                </a:buClr>
              </a:pPr>
              <a:t>13.09.2015</a:t>
            </a:fld>
            <a:endParaRPr lang="nb-N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buClr>
                <a:srgbClr val="44546A"/>
              </a:buClr>
            </a:pPr>
            <a:endParaRPr lang="nb-N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buClr>
                <a:srgbClr val="44546A"/>
              </a:buClr>
            </a:pPr>
            <a:fld id="{1C4D0B95-3711-4744-9B0D-35971583D887}" type="slidenum">
              <a:rPr lang="nb-NO" smtClean="0">
                <a:solidFill>
                  <a:prstClr val="black">
                    <a:tint val="75000"/>
                  </a:prstClr>
                </a:solidFill>
              </a:rPr>
              <a:pPr>
                <a:buClr>
                  <a:srgbClr val="44546A"/>
                </a:buClr>
              </a:pPr>
              <a:t>‹#›</a:t>
            </a:fld>
            <a:endParaRPr lang="nb-NO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41417105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Loddrett tittel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oddrett tittel 1"/>
          <p:cNvSpPr>
            <a:spLocks noGrp="1"/>
          </p:cNvSpPr>
          <p:nvPr>
            <p:ph type="title" orient="vert"/>
          </p:nvPr>
        </p:nvSpPr>
        <p:spPr>
          <a:xfrm>
            <a:off x="6544409" y="273845"/>
            <a:ext cx="1970943" cy="4358879"/>
          </a:xfrm>
        </p:spPr>
        <p:txBody>
          <a:bodyPr vert="eaVert"/>
          <a:lstStyle/>
          <a:p>
            <a:r>
              <a:rPr lang="nb-NO" smtClean="0"/>
              <a:t>Klikk for å redigere tittelstil</a:t>
            </a:r>
            <a:endParaRPr lang="nb-NO"/>
          </a:p>
        </p:txBody>
      </p:sp>
      <p:sp>
        <p:nvSpPr>
          <p:cNvPr id="3" name="Plassholder for loddrett tekst 2"/>
          <p:cNvSpPr>
            <a:spLocks noGrp="1"/>
          </p:cNvSpPr>
          <p:nvPr>
            <p:ph type="body" orient="vert" idx="1"/>
          </p:nvPr>
        </p:nvSpPr>
        <p:spPr>
          <a:xfrm>
            <a:off x="628651" y="273845"/>
            <a:ext cx="5775080" cy="4358879"/>
          </a:xfrm>
        </p:spPr>
        <p:txBody>
          <a:bodyPr vert="eaVert"/>
          <a:lstStyle/>
          <a:p>
            <a:pPr lvl="0"/>
            <a:r>
              <a:rPr lang="nb-NO" smtClean="0"/>
              <a:t>Klikk for å redigere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  <a:p>
            <a:pPr lvl="3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nb-NO"/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buClr>
                <a:srgbClr val="44546A"/>
              </a:buClr>
            </a:pPr>
            <a:fld id="{57CDDEFD-23F0-42EB-B054-95271AF0C6FD}" type="datetimeFigureOut">
              <a:rPr lang="nb-NO" smtClean="0">
                <a:solidFill>
                  <a:prstClr val="black">
                    <a:tint val="75000"/>
                  </a:prstClr>
                </a:solidFill>
              </a:rPr>
              <a:pPr>
                <a:buClr>
                  <a:srgbClr val="44546A"/>
                </a:buClr>
              </a:pPr>
              <a:t>13.09.2015</a:t>
            </a:fld>
            <a:endParaRPr lang="nb-N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buClr>
                <a:srgbClr val="44546A"/>
              </a:buClr>
            </a:pPr>
            <a:endParaRPr lang="nb-N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buClr>
                <a:srgbClr val="44546A"/>
              </a:buClr>
            </a:pPr>
            <a:fld id="{1C4D0B95-3711-4744-9B0D-35971583D887}" type="slidenum">
              <a:rPr lang="nb-NO" smtClean="0">
                <a:solidFill>
                  <a:prstClr val="black">
                    <a:tint val="75000"/>
                  </a:prstClr>
                </a:solidFill>
              </a:rPr>
              <a:pPr>
                <a:buClr>
                  <a:srgbClr val="44546A"/>
                </a:buClr>
              </a:pPr>
              <a:t>‹#›</a:t>
            </a:fld>
            <a:endParaRPr lang="nb-NO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38328131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tellys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1143000" y="841772"/>
            <a:ext cx="6858000" cy="1790700"/>
          </a:xfrm>
        </p:spPr>
        <p:txBody>
          <a:bodyPr anchor="b"/>
          <a:lstStyle>
            <a:lvl1pPr algn="ctr">
              <a:defRPr sz="5100"/>
            </a:lvl1pPr>
          </a:lstStyle>
          <a:p>
            <a:r>
              <a:rPr lang="nb-NO" smtClean="0"/>
              <a:t>Klikk for å redigere tittelstil</a:t>
            </a:r>
            <a:endParaRPr lang="nb-NO"/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1143000" y="2701528"/>
            <a:ext cx="6858000" cy="1241822"/>
          </a:xfrm>
        </p:spPr>
        <p:txBody>
          <a:bodyPr/>
          <a:lstStyle>
            <a:lvl1pPr marL="0" indent="0" algn="ctr">
              <a:buNone/>
              <a:defRPr sz="2000"/>
            </a:lvl1pPr>
            <a:lvl2pPr marL="389626" indent="0" algn="ctr">
              <a:buNone/>
              <a:defRPr sz="1700"/>
            </a:lvl2pPr>
            <a:lvl3pPr marL="779252" indent="0" algn="ctr">
              <a:buNone/>
              <a:defRPr sz="1500"/>
            </a:lvl3pPr>
            <a:lvl4pPr marL="1168878" indent="0" algn="ctr">
              <a:buNone/>
              <a:defRPr sz="1400"/>
            </a:lvl4pPr>
            <a:lvl5pPr marL="1558503" indent="0" algn="ctr">
              <a:buNone/>
              <a:defRPr sz="1400"/>
            </a:lvl5pPr>
            <a:lvl6pPr marL="1948129" indent="0" algn="ctr">
              <a:buNone/>
              <a:defRPr sz="1400"/>
            </a:lvl6pPr>
            <a:lvl7pPr marL="2337755" indent="0" algn="ctr">
              <a:buNone/>
              <a:defRPr sz="1400"/>
            </a:lvl7pPr>
            <a:lvl8pPr marL="2727381" indent="0" algn="ctr">
              <a:buNone/>
              <a:defRPr sz="1400"/>
            </a:lvl8pPr>
            <a:lvl9pPr marL="3117007" indent="0" algn="ctr">
              <a:buNone/>
              <a:defRPr sz="1400"/>
            </a:lvl9pPr>
          </a:lstStyle>
          <a:p>
            <a:r>
              <a:rPr lang="nb-NO" smtClean="0"/>
              <a:t>Klikk for å redigere undertittelstil i malen</a:t>
            </a:r>
            <a:endParaRPr lang="nb-NO"/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buClr>
                <a:srgbClr val="44546A"/>
              </a:buClr>
            </a:pPr>
            <a:fld id="{57CDDEFD-23F0-42EB-B054-95271AF0C6FD}" type="datetimeFigureOut">
              <a:rPr lang="nb-NO" smtClean="0">
                <a:solidFill>
                  <a:prstClr val="black">
                    <a:tint val="75000"/>
                  </a:prstClr>
                </a:solidFill>
              </a:rPr>
              <a:pPr>
                <a:buClr>
                  <a:srgbClr val="44546A"/>
                </a:buClr>
              </a:pPr>
              <a:t>13.09.2015</a:t>
            </a:fld>
            <a:endParaRPr lang="nb-N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buClr>
                <a:srgbClr val="44546A"/>
              </a:buClr>
            </a:pPr>
            <a:endParaRPr lang="nb-N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buClr>
                <a:srgbClr val="44546A"/>
              </a:buClr>
            </a:pPr>
            <a:fld id="{1C4D0B95-3711-4744-9B0D-35971583D887}" type="slidenum">
              <a:rPr lang="nb-NO" smtClean="0">
                <a:solidFill>
                  <a:prstClr val="black">
                    <a:tint val="75000"/>
                  </a:prstClr>
                </a:solidFill>
              </a:rPr>
              <a:pPr>
                <a:buClr>
                  <a:srgbClr val="44546A"/>
                </a:buClr>
              </a:pPr>
              <a:t>‹#›</a:t>
            </a:fld>
            <a:endParaRPr lang="nb-NO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3092328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628651" y="273844"/>
            <a:ext cx="6835502" cy="684944"/>
          </a:xfrm>
        </p:spPr>
        <p:txBody>
          <a:bodyPr>
            <a:normAutofit/>
          </a:bodyPr>
          <a:lstStyle>
            <a:lvl1pPr>
              <a:defRPr sz="2400" b="1">
                <a:solidFill>
                  <a:srgbClr val="7030A0"/>
                </a:solidFill>
                <a:latin typeface="+mn-lt"/>
              </a:defRPr>
            </a:lvl1pPr>
          </a:lstStyle>
          <a:p>
            <a:r>
              <a:rPr lang="nb-NO" smtClean="0"/>
              <a:t>Klikk for å redigere tittelstil</a:t>
            </a:r>
            <a:endParaRPr lang="nb-NO"/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628650" y="1111929"/>
            <a:ext cx="8106977" cy="3329126"/>
          </a:xfrm>
        </p:spPr>
        <p:txBody>
          <a:bodyPr>
            <a:normAutofit/>
          </a:bodyPr>
          <a:lstStyle>
            <a:lvl1pPr>
              <a:defRPr sz="1700"/>
            </a:lvl1pPr>
            <a:lvl2pPr>
              <a:defRPr sz="15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nb-NO" dirty="0" smtClean="0"/>
              <a:t>Klikk for å redigere tekststiler i malen</a:t>
            </a:r>
          </a:p>
          <a:p>
            <a:pPr lvl="1"/>
            <a:r>
              <a:rPr lang="nb-NO" dirty="0" smtClean="0"/>
              <a:t>Andre nivå</a:t>
            </a:r>
          </a:p>
          <a:p>
            <a:pPr lvl="2"/>
            <a:r>
              <a:rPr lang="nb-NO" dirty="0" smtClean="0"/>
              <a:t>Tredje nivå</a:t>
            </a:r>
          </a:p>
          <a:p>
            <a:pPr lvl="3"/>
            <a:r>
              <a:rPr lang="nb-NO" dirty="0" smtClean="0"/>
              <a:t>Fjerde nivå</a:t>
            </a:r>
          </a:p>
          <a:p>
            <a:pPr lvl="4"/>
            <a:r>
              <a:rPr lang="nb-NO" dirty="0" smtClean="0"/>
              <a:t>Femte nivå</a:t>
            </a:r>
            <a:endParaRPr lang="nb-NO" dirty="0"/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>
          <a:xfrm>
            <a:off x="628651" y="4767263"/>
            <a:ext cx="1642459" cy="273844"/>
          </a:xfrm>
        </p:spPr>
        <p:txBody>
          <a:bodyPr/>
          <a:lstStyle/>
          <a:p>
            <a:pPr>
              <a:buClr>
                <a:srgbClr val="44546A"/>
              </a:buClr>
            </a:pPr>
            <a:fld id="{57CDDEFD-23F0-42EB-B054-95271AF0C6FD}" type="datetimeFigureOut">
              <a:rPr lang="nb-NO" smtClean="0">
                <a:solidFill>
                  <a:prstClr val="black">
                    <a:tint val="75000"/>
                  </a:prstClr>
                </a:solidFill>
              </a:rPr>
              <a:pPr>
                <a:buClr>
                  <a:srgbClr val="44546A"/>
                </a:buClr>
              </a:pPr>
              <a:t>13.09.2015</a:t>
            </a:fld>
            <a:endParaRPr lang="nb-N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buClr>
                <a:srgbClr val="44546A"/>
              </a:buClr>
            </a:pPr>
            <a:endParaRPr lang="nb-N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>
          <a:xfrm>
            <a:off x="8178383" y="4767263"/>
            <a:ext cx="566425" cy="273844"/>
          </a:xfrm>
        </p:spPr>
        <p:txBody>
          <a:bodyPr/>
          <a:lstStyle/>
          <a:p>
            <a:pPr>
              <a:buClr>
                <a:srgbClr val="44546A"/>
              </a:buClr>
            </a:pPr>
            <a:fld id="{1C4D0B95-3711-4744-9B0D-35971583D887}" type="slidenum">
              <a:rPr lang="nb-NO" smtClean="0">
                <a:solidFill>
                  <a:prstClr val="black">
                    <a:tint val="75000"/>
                  </a:prstClr>
                </a:solidFill>
              </a:rPr>
              <a:pPr>
                <a:buClr>
                  <a:srgbClr val="44546A"/>
                </a:buClr>
              </a:pPr>
              <a:t>‹#›</a:t>
            </a:fld>
            <a:endParaRPr lang="nb-NO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7" name="Bilde 6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74924" y="4686022"/>
            <a:ext cx="295209" cy="373832"/>
          </a:xfrm>
          <a:prstGeom prst="rect">
            <a:avLst/>
          </a:prstGeom>
        </p:spPr>
      </p:pic>
      <p:pic>
        <p:nvPicPr>
          <p:cNvPr id="8" name="Bilde 7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82662" y="4834363"/>
            <a:ext cx="800411" cy="233068"/>
          </a:xfrm>
          <a:prstGeom prst="rect">
            <a:avLst/>
          </a:prstGeom>
        </p:spPr>
      </p:pic>
      <p:pic>
        <p:nvPicPr>
          <p:cNvPr id="9" name="Bilde 8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34681" y="4740938"/>
            <a:ext cx="1109247" cy="333152"/>
          </a:xfrm>
          <a:prstGeom prst="rect">
            <a:avLst/>
          </a:prstGeom>
        </p:spPr>
      </p:pic>
      <p:pic>
        <p:nvPicPr>
          <p:cNvPr id="10" name="Bilde 9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04829" y="273844"/>
            <a:ext cx="1130798" cy="4718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983291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Del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624254" y="1282304"/>
            <a:ext cx="7886700" cy="2139553"/>
          </a:xfrm>
        </p:spPr>
        <p:txBody>
          <a:bodyPr anchor="b"/>
          <a:lstStyle>
            <a:lvl1pPr>
              <a:defRPr sz="5100"/>
            </a:lvl1pPr>
          </a:lstStyle>
          <a:p>
            <a:r>
              <a:rPr lang="nb-NO" smtClean="0"/>
              <a:t>Klikk for å redigere tittelstil</a:t>
            </a:r>
            <a:endParaRPr lang="nb-NO"/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624254" y="3442098"/>
            <a:ext cx="7886700" cy="1125140"/>
          </a:xfrm>
        </p:spPr>
        <p:txBody>
          <a:bodyPr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389626" indent="0">
              <a:buNone/>
              <a:defRPr sz="1700">
                <a:solidFill>
                  <a:schemeClr val="tx1">
                    <a:tint val="75000"/>
                  </a:schemeClr>
                </a:solidFill>
              </a:defRPr>
            </a:lvl2pPr>
            <a:lvl3pPr marL="779252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3pPr>
            <a:lvl4pPr marL="1168878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558503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1948129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337755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2727381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117007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 smtClean="0"/>
              <a:t>Klikk for å redigere tekststiler i malen</a:t>
            </a: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buClr>
                <a:srgbClr val="44546A"/>
              </a:buClr>
            </a:pPr>
            <a:fld id="{57CDDEFD-23F0-42EB-B054-95271AF0C6FD}" type="datetimeFigureOut">
              <a:rPr lang="nb-NO" smtClean="0">
                <a:solidFill>
                  <a:prstClr val="black">
                    <a:tint val="75000"/>
                  </a:prstClr>
                </a:solidFill>
              </a:rPr>
              <a:pPr>
                <a:buClr>
                  <a:srgbClr val="44546A"/>
                </a:buClr>
              </a:pPr>
              <a:t>13.09.2015</a:t>
            </a:fld>
            <a:endParaRPr lang="nb-N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buClr>
                <a:srgbClr val="44546A"/>
              </a:buClr>
            </a:pPr>
            <a:endParaRPr lang="nb-N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buClr>
                <a:srgbClr val="44546A"/>
              </a:buClr>
            </a:pPr>
            <a:fld id="{1C4D0B95-3711-4744-9B0D-35971583D887}" type="slidenum">
              <a:rPr lang="nb-NO" smtClean="0">
                <a:solidFill>
                  <a:prstClr val="black">
                    <a:tint val="75000"/>
                  </a:prstClr>
                </a:solidFill>
              </a:rPr>
              <a:pPr>
                <a:buClr>
                  <a:srgbClr val="44546A"/>
                </a:buClr>
              </a:pPr>
              <a:t>‹#›</a:t>
            </a:fld>
            <a:endParaRPr lang="nb-NO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05992233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smtClean="0"/>
              <a:t>Klikk for å redigere tittelstil</a:t>
            </a:r>
            <a:endParaRPr lang="nb-NO"/>
          </a:p>
        </p:txBody>
      </p:sp>
      <p:sp>
        <p:nvSpPr>
          <p:cNvPr id="3" name="Plassholder for innhold 2"/>
          <p:cNvSpPr>
            <a:spLocks noGrp="1"/>
          </p:cNvSpPr>
          <p:nvPr>
            <p:ph sz="half" idx="1"/>
          </p:nvPr>
        </p:nvSpPr>
        <p:spPr>
          <a:xfrm>
            <a:off x="628651" y="1369219"/>
            <a:ext cx="3873011" cy="3263504"/>
          </a:xfrm>
        </p:spPr>
        <p:txBody>
          <a:bodyPr/>
          <a:lstStyle/>
          <a:p>
            <a:pPr lvl="0"/>
            <a:r>
              <a:rPr lang="nb-NO" smtClean="0"/>
              <a:t>Klikk for å redigere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  <a:p>
            <a:pPr lvl="3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nb-NO"/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4642339" y="1369219"/>
            <a:ext cx="3873012" cy="3263504"/>
          </a:xfrm>
        </p:spPr>
        <p:txBody>
          <a:bodyPr/>
          <a:lstStyle/>
          <a:p>
            <a:pPr lvl="0"/>
            <a:r>
              <a:rPr lang="nb-NO" smtClean="0"/>
              <a:t>Klikk for å redigere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  <a:p>
            <a:pPr lvl="3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nb-NO"/>
          </a:p>
        </p:txBody>
      </p:sp>
      <p:sp>
        <p:nvSpPr>
          <p:cNvPr id="5" name="Plassholder for dato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buClr>
                <a:srgbClr val="44546A"/>
              </a:buClr>
            </a:pPr>
            <a:fld id="{57CDDEFD-23F0-42EB-B054-95271AF0C6FD}" type="datetimeFigureOut">
              <a:rPr lang="nb-NO" smtClean="0">
                <a:solidFill>
                  <a:prstClr val="black">
                    <a:tint val="75000"/>
                  </a:prstClr>
                </a:solidFill>
              </a:rPr>
              <a:pPr>
                <a:buClr>
                  <a:srgbClr val="44546A"/>
                </a:buClr>
              </a:pPr>
              <a:t>13.09.2015</a:t>
            </a:fld>
            <a:endParaRPr lang="nb-N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buClr>
                <a:srgbClr val="44546A"/>
              </a:buClr>
            </a:pPr>
            <a:endParaRPr lang="nb-N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buClr>
                <a:srgbClr val="44546A"/>
              </a:buClr>
            </a:pPr>
            <a:fld id="{1C4D0B95-3711-4744-9B0D-35971583D887}" type="slidenum">
              <a:rPr lang="nb-NO" smtClean="0">
                <a:solidFill>
                  <a:prstClr val="black">
                    <a:tint val="75000"/>
                  </a:prstClr>
                </a:solidFill>
              </a:rPr>
              <a:pPr>
                <a:buClr>
                  <a:srgbClr val="44546A"/>
                </a:buClr>
              </a:pPr>
              <a:t>‹#›</a:t>
            </a:fld>
            <a:endParaRPr lang="nb-NO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7096852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630116" y="273844"/>
            <a:ext cx="7886700" cy="994172"/>
          </a:xfrm>
        </p:spPr>
        <p:txBody>
          <a:bodyPr/>
          <a:lstStyle/>
          <a:p>
            <a:r>
              <a:rPr lang="nb-NO" smtClean="0"/>
              <a:t>Klikk for å redigere tittelstil</a:t>
            </a:r>
            <a:endParaRPr lang="nb-NO"/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630116" y="1260872"/>
            <a:ext cx="3868615" cy="617934"/>
          </a:xfrm>
        </p:spPr>
        <p:txBody>
          <a:bodyPr anchor="b"/>
          <a:lstStyle>
            <a:lvl1pPr marL="0" indent="0">
              <a:buNone/>
              <a:defRPr sz="2000" b="1"/>
            </a:lvl1pPr>
            <a:lvl2pPr marL="389626" indent="0">
              <a:buNone/>
              <a:defRPr sz="1700" b="1"/>
            </a:lvl2pPr>
            <a:lvl3pPr marL="779252" indent="0">
              <a:buNone/>
              <a:defRPr sz="1500" b="1"/>
            </a:lvl3pPr>
            <a:lvl4pPr marL="1168878" indent="0">
              <a:buNone/>
              <a:defRPr sz="1400" b="1"/>
            </a:lvl4pPr>
            <a:lvl5pPr marL="1558503" indent="0">
              <a:buNone/>
              <a:defRPr sz="1400" b="1"/>
            </a:lvl5pPr>
            <a:lvl6pPr marL="1948129" indent="0">
              <a:buNone/>
              <a:defRPr sz="1400" b="1"/>
            </a:lvl6pPr>
            <a:lvl7pPr marL="2337755" indent="0">
              <a:buNone/>
              <a:defRPr sz="1400" b="1"/>
            </a:lvl7pPr>
            <a:lvl8pPr marL="2727381" indent="0">
              <a:buNone/>
              <a:defRPr sz="1400" b="1"/>
            </a:lvl8pPr>
            <a:lvl9pPr marL="3117007" indent="0">
              <a:buNone/>
              <a:defRPr sz="1400" b="1"/>
            </a:lvl9pPr>
          </a:lstStyle>
          <a:p>
            <a:pPr lvl="0"/>
            <a:r>
              <a:rPr lang="nb-NO" smtClean="0"/>
              <a:t>Klikk for å redigere tekststiler i malen</a:t>
            </a:r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630116" y="1878806"/>
            <a:ext cx="3868615" cy="2763441"/>
          </a:xfrm>
        </p:spPr>
        <p:txBody>
          <a:bodyPr/>
          <a:lstStyle/>
          <a:p>
            <a:pPr lvl="0"/>
            <a:r>
              <a:rPr lang="nb-NO" smtClean="0"/>
              <a:t>Klikk for å redigere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  <a:p>
            <a:pPr lvl="3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nb-NO"/>
          </a:p>
        </p:txBody>
      </p:sp>
      <p:sp>
        <p:nvSpPr>
          <p:cNvPr id="5" name="Plassholder for tekst 4"/>
          <p:cNvSpPr>
            <a:spLocks noGrp="1"/>
          </p:cNvSpPr>
          <p:nvPr>
            <p:ph type="body" sz="quarter" idx="3"/>
          </p:nvPr>
        </p:nvSpPr>
        <p:spPr>
          <a:xfrm>
            <a:off x="4629151" y="1260872"/>
            <a:ext cx="3887665" cy="617934"/>
          </a:xfrm>
        </p:spPr>
        <p:txBody>
          <a:bodyPr anchor="b"/>
          <a:lstStyle>
            <a:lvl1pPr marL="0" indent="0">
              <a:buNone/>
              <a:defRPr sz="2000" b="1"/>
            </a:lvl1pPr>
            <a:lvl2pPr marL="389626" indent="0">
              <a:buNone/>
              <a:defRPr sz="1700" b="1"/>
            </a:lvl2pPr>
            <a:lvl3pPr marL="779252" indent="0">
              <a:buNone/>
              <a:defRPr sz="1500" b="1"/>
            </a:lvl3pPr>
            <a:lvl4pPr marL="1168878" indent="0">
              <a:buNone/>
              <a:defRPr sz="1400" b="1"/>
            </a:lvl4pPr>
            <a:lvl5pPr marL="1558503" indent="0">
              <a:buNone/>
              <a:defRPr sz="1400" b="1"/>
            </a:lvl5pPr>
            <a:lvl6pPr marL="1948129" indent="0">
              <a:buNone/>
              <a:defRPr sz="1400" b="1"/>
            </a:lvl6pPr>
            <a:lvl7pPr marL="2337755" indent="0">
              <a:buNone/>
              <a:defRPr sz="1400" b="1"/>
            </a:lvl7pPr>
            <a:lvl8pPr marL="2727381" indent="0">
              <a:buNone/>
              <a:defRPr sz="1400" b="1"/>
            </a:lvl8pPr>
            <a:lvl9pPr marL="3117007" indent="0">
              <a:buNone/>
              <a:defRPr sz="1400" b="1"/>
            </a:lvl9pPr>
          </a:lstStyle>
          <a:p>
            <a:pPr lvl="0"/>
            <a:r>
              <a:rPr lang="nb-NO" smtClean="0"/>
              <a:t>Klikk for å redigere tekststiler i malen</a:t>
            </a:r>
          </a:p>
        </p:txBody>
      </p:sp>
      <p:sp>
        <p:nvSpPr>
          <p:cNvPr id="6" name="Plassholder for innhold 5"/>
          <p:cNvSpPr>
            <a:spLocks noGrp="1"/>
          </p:cNvSpPr>
          <p:nvPr>
            <p:ph sz="quarter" idx="4"/>
          </p:nvPr>
        </p:nvSpPr>
        <p:spPr>
          <a:xfrm>
            <a:off x="4629151" y="1878806"/>
            <a:ext cx="3887665" cy="2763441"/>
          </a:xfrm>
        </p:spPr>
        <p:txBody>
          <a:bodyPr/>
          <a:lstStyle/>
          <a:p>
            <a:pPr lvl="0"/>
            <a:r>
              <a:rPr lang="nb-NO" smtClean="0"/>
              <a:t>Klikk for å redigere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  <a:p>
            <a:pPr lvl="3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nb-NO"/>
          </a:p>
        </p:txBody>
      </p:sp>
      <p:sp>
        <p:nvSpPr>
          <p:cNvPr id="7" name="Plassholder for dato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buClr>
                <a:srgbClr val="44546A"/>
              </a:buClr>
            </a:pPr>
            <a:fld id="{57CDDEFD-23F0-42EB-B054-95271AF0C6FD}" type="datetimeFigureOut">
              <a:rPr lang="nb-NO" smtClean="0">
                <a:solidFill>
                  <a:prstClr val="black">
                    <a:tint val="75000"/>
                  </a:prstClr>
                </a:solidFill>
              </a:rPr>
              <a:pPr>
                <a:buClr>
                  <a:srgbClr val="44546A"/>
                </a:buClr>
              </a:pPr>
              <a:t>13.09.2015</a:t>
            </a:fld>
            <a:endParaRPr lang="nb-N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Plassholder for bunntekst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buClr>
                <a:srgbClr val="44546A"/>
              </a:buClr>
            </a:pPr>
            <a:endParaRPr lang="nb-N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Plassholder for lysbildenumm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buClr>
                <a:srgbClr val="44546A"/>
              </a:buClr>
            </a:pPr>
            <a:fld id="{1C4D0B95-3711-4744-9B0D-35971583D887}" type="slidenum">
              <a:rPr lang="nb-NO" smtClean="0">
                <a:solidFill>
                  <a:prstClr val="black">
                    <a:tint val="75000"/>
                  </a:prstClr>
                </a:solidFill>
              </a:rPr>
              <a:pPr>
                <a:buClr>
                  <a:srgbClr val="44546A"/>
                </a:buClr>
              </a:pPr>
              <a:t>‹#›</a:t>
            </a:fld>
            <a:endParaRPr lang="nb-NO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24268023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smtClean="0"/>
              <a:t>Klikk for å redigere tittelstil</a:t>
            </a:r>
            <a:endParaRPr lang="nb-NO"/>
          </a:p>
        </p:txBody>
      </p:sp>
      <p:sp>
        <p:nvSpPr>
          <p:cNvPr id="3" name="Plassholder for dato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buClr>
                <a:srgbClr val="44546A"/>
              </a:buClr>
            </a:pPr>
            <a:fld id="{57CDDEFD-23F0-42EB-B054-95271AF0C6FD}" type="datetimeFigureOut">
              <a:rPr lang="nb-NO" smtClean="0">
                <a:solidFill>
                  <a:prstClr val="black">
                    <a:tint val="75000"/>
                  </a:prstClr>
                </a:solidFill>
              </a:rPr>
              <a:pPr>
                <a:buClr>
                  <a:srgbClr val="44546A"/>
                </a:buClr>
              </a:pPr>
              <a:t>13.09.2015</a:t>
            </a:fld>
            <a:endParaRPr lang="nb-N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Plassholder for bunntekst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buClr>
                <a:srgbClr val="44546A"/>
              </a:buClr>
            </a:pPr>
            <a:endParaRPr lang="nb-N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Plassholder for lysbilde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buClr>
                <a:srgbClr val="44546A"/>
              </a:buClr>
            </a:pPr>
            <a:fld id="{1C4D0B95-3711-4744-9B0D-35971583D887}" type="slidenum">
              <a:rPr lang="nb-NO" smtClean="0">
                <a:solidFill>
                  <a:prstClr val="black">
                    <a:tint val="75000"/>
                  </a:prstClr>
                </a:solidFill>
              </a:rPr>
              <a:pPr>
                <a:buClr>
                  <a:srgbClr val="44546A"/>
                </a:buClr>
              </a:pPr>
              <a:t>‹#›</a:t>
            </a:fld>
            <a:endParaRPr lang="nb-NO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658663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elfor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Bilde 10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5000"/>
          <a:stretch/>
        </p:blipFill>
        <p:spPr>
          <a:xfrm>
            <a:off x="1" y="1"/>
            <a:ext cx="9143245" cy="4708772"/>
          </a:xfrm>
          <a:prstGeom prst="rect">
            <a:avLst/>
          </a:prstGeom>
          <a:solidFill>
            <a:schemeClr val="accent1"/>
          </a:solidFill>
        </p:spPr>
      </p:pic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685800" y="1608315"/>
            <a:ext cx="7772400" cy="402279"/>
          </a:xfrm>
        </p:spPr>
        <p:txBody>
          <a:bodyPr>
            <a:spAutoFit/>
          </a:bodyPr>
          <a:lstStyle>
            <a:lvl1pPr algn="l">
              <a:defRPr b="1">
                <a:solidFill>
                  <a:schemeClr val="bg1"/>
                </a:solidFill>
              </a:defRPr>
            </a:lvl1pPr>
          </a:lstStyle>
          <a:p>
            <a:r>
              <a:rPr lang="nb-NO" smtClean="0"/>
              <a:t>Klikk for å redigere tittelstil</a:t>
            </a:r>
            <a:endParaRPr lang="nb-NO" dirty="0"/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685800" y="1990829"/>
            <a:ext cx="7772400" cy="279168"/>
          </a:xfrm>
        </p:spPr>
        <p:txBody>
          <a:bodyPr wrap="square">
            <a:spAutoFit/>
          </a:bodyPr>
          <a:lstStyle>
            <a:lvl1pPr marL="0" indent="0" algn="l">
              <a:buNone/>
              <a:defRPr>
                <a:solidFill>
                  <a:schemeClr val="bg1"/>
                </a:solidFill>
              </a:defRPr>
            </a:lvl1pPr>
            <a:lvl2pPr marL="4571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29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5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7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8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03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1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b-NO" smtClean="0"/>
              <a:t>Klikk for å redigere undertittelstil i malen</a:t>
            </a:r>
            <a:endParaRPr lang="nb-NO" dirty="0"/>
          </a:p>
        </p:txBody>
      </p:sp>
      <p:sp>
        <p:nvSpPr>
          <p:cNvPr id="10" name="Plassholder for dato 3"/>
          <p:cNvSpPr>
            <a:spLocks noGrp="1"/>
          </p:cNvSpPr>
          <p:nvPr>
            <p:ph type="dt" sz="half" idx="10"/>
          </p:nvPr>
        </p:nvSpPr>
        <p:spPr>
          <a:xfrm>
            <a:off x="6732240" y="4993004"/>
            <a:ext cx="1080120" cy="108011"/>
          </a:xfrm>
          <a:prstGeom prst="rect">
            <a:avLst/>
          </a:prstGeom>
        </p:spPr>
        <p:txBody>
          <a:bodyPr anchor="ctr" anchorCtr="0"/>
          <a:lstStyle>
            <a:lvl1pPr>
              <a:defRPr sz="800">
                <a:solidFill>
                  <a:srgbClr val="003244"/>
                </a:solidFill>
              </a:defRPr>
            </a:lvl1pPr>
          </a:lstStyle>
          <a:p>
            <a:fld id="{1C37437B-452C-4DC1-891B-1CFB7AA967C7}" type="datetime1">
              <a:rPr lang="nb-NO" smtClean="0"/>
              <a:t>13.09.2015</a:t>
            </a:fld>
            <a:endParaRPr lang="nb-NO" dirty="0"/>
          </a:p>
        </p:txBody>
      </p:sp>
      <p:sp>
        <p:nvSpPr>
          <p:cNvPr id="15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7884368" y="4993004"/>
            <a:ext cx="648072" cy="108011"/>
          </a:xfrm>
          <a:prstGeom prst="rect">
            <a:avLst/>
          </a:prstGeom>
        </p:spPr>
        <p:txBody>
          <a:bodyPr anchor="ctr" anchorCtr="0"/>
          <a:lstStyle>
            <a:lvl1pPr>
              <a:defRPr sz="800">
                <a:solidFill>
                  <a:srgbClr val="003244"/>
                </a:solidFill>
              </a:defRPr>
            </a:lvl1pPr>
          </a:lstStyle>
          <a:p>
            <a:fld id="{CDA22134-EA94-4B2E-9154-EB8F13265450}" type="slidenum">
              <a:rPr lang="nb-NO" smtClean="0"/>
              <a:pPr/>
              <a:t>‹#›</a:t>
            </a:fld>
            <a:endParaRPr lang="nb-NO" dirty="0"/>
          </a:p>
        </p:txBody>
      </p:sp>
      <p:pic>
        <p:nvPicPr>
          <p:cNvPr id="9" name="Bilde 8"/>
          <p:cNvPicPr>
            <a:picLocks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6239" y="4894009"/>
            <a:ext cx="1076709" cy="1467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683457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dato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buClr>
                <a:srgbClr val="44546A"/>
              </a:buClr>
            </a:pPr>
            <a:fld id="{57CDDEFD-23F0-42EB-B054-95271AF0C6FD}" type="datetimeFigureOut">
              <a:rPr lang="nb-NO" smtClean="0">
                <a:solidFill>
                  <a:prstClr val="black">
                    <a:tint val="75000"/>
                  </a:prstClr>
                </a:solidFill>
              </a:rPr>
              <a:pPr>
                <a:buClr>
                  <a:srgbClr val="44546A"/>
                </a:buClr>
              </a:pPr>
              <a:t>13.09.2015</a:t>
            </a:fld>
            <a:endParaRPr lang="nb-N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Plassholder for bunntekst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buClr>
                <a:srgbClr val="44546A"/>
              </a:buClr>
            </a:pPr>
            <a:endParaRPr lang="nb-N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buClr>
                <a:srgbClr val="44546A"/>
              </a:buClr>
            </a:pPr>
            <a:fld id="{1C4D0B95-3711-4744-9B0D-35971583D887}" type="slidenum">
              <a:rPr lang="nb-NO" smtClean="0">
                <a:solidFill>
                  <a:prstClr val="black">
                    <a:tint val="75000"/>
                  </a:prstClr>
                </a:solidFill>
              </a:rPr>
              <a:pPr>
                <a:buClr>
                  <a:srgbClr val="44546A"/>
                </a:buClr>
              </a:pPr>
              <a:t>‹#›</a:t>
            </a:fld>
            <a:endParaRPr lang="nb-NO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72743243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nhold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630115" y="342900"/>
            <a:ext cx="2948354" cy="1200150"/>
          </a:xfrm>
        </p:spPr>
        <p:txBody>
          <a:bodyPr anchor="b"/>
          <a:lstStyle>
            <a:lvl1pPr>
              <a:defRPr sz="2700"/>
            </a:lvl1pPr>
          </a:lstStyle>
          <a:p>
            <a:r>
              <a:rPr lang="nb-NO" smtClean="0"/>
              <a:t>Klikk for å redigere tittelstil</a:t>
            </a:r>
            <a:endParaRPr lang="nb-NO"/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3887666" y="740569"/>
            <a:ext cx="4629150" cy="3655219"/>
          </a:xfrm>
        </p:spPr>
        <p:txBody>
          <a:bodyPr/>
          <a:lstStyle>
            <a:lvl1pPr>
              <a:defRPr sz="2700"/>
            </a:lvl1pPr>
            <a:lvl2pPr>
              <a:defRPr sz="2400"/>
            </a:lvl2pPr>
            <a:lvl3pPr>
              <a:defRPr sz="2000"/>
            </a:lvl3pPr>
            <a:lvl4pPr>
              <a:defRPr sz="1700"/>
            </a:lvl4pPr>
            <a:lvl5pPr>
              <a:defRPr sz="1700"/>
            </a:lvl5pPr>
            <a:lvl6pPr>
              <a:defRPr sz="1700"/>
            </a:lvl6pPr>
            <a:lvl7pPr>
              <a:defRPr sz="1700"/>
            </a:lvl7pPr>
            <a:lvl8pPr>
              <a:defRPr sz="1700"/>
            </a:lvl8pPr>
            <a:lvl9pPr>
              <a:defRPr sz="1700"/>
            </a:lvl9pPr>
          </a:lstStyle>
          <a:p>
            <a:pPr lvl="0"/>
            <a:r>
              <a:rPr lang="nb-NO" smtClean="0"/>
              <a:t>Klikk for å redigere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  <a:p>
            <a:pPr lvl="3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nb-NO"/>
          </a:p>
        </p:txBody>
      </p:sp>
      <p:sp>
        <p:nvSpPr>
          <p:cNvPr id="4" name="Plassholder for tekst 3"/>
          <p:cNvSpPr>
            <a:spLocks noGrp="1"/>
          </p:cNvSpPr>
          <p:nvPr>
            <p:ph type="body" sz="half" idx="2"/>
          </p:nvPr>
        </p:nvSpPr>
        <p:spPr>
          <a:xfrm>
            <a:off x="630115" y="1543050"/>
            <a:ext cx="2948354" cy="2858691"/>
          </a:xfrm>
        </p:spPr>
        <p:txBody>
          <a:bodyPr/>
          <a:lstStyle>
            <a:lvl1pPr marL="0" indent="0">
              <a:buNone/>
              <a:defRPr sz="1400"/>
            </a:lvl1pPr>
            <a:lvl2pPr marL="389626" indent="0">
              <a:buNone/>
              <a:defRPr sz="1200"/>
            </a:lvl2pPr>
            <a:lvl3pPr marL="779252" indent="0">
              <a:buNone/>
              <a:defRPr sz="1000"/>
            </a:lvl3pPr>
            <a:lvl4pPr marL="1168878" indent="0">
              <a:buNone/>
              <a:defRPr sz="900"/>
            </a:lvl4pPr>
            <a:lvl5pPr marL="1558503" indent="0">
              <a:buNone/>
              <a:defRPr sz="900"/>
            </a:lvl5pPr>
            <a:lvl6pPr marL="1948129" indent="0">
              <a:buNone/>
              <a:defRPr sz="900"/>
            </a:lvl6pPr>
            <a:lvl7pPr marL="2337755" indent="0">
              <a:buNone/>
              <a:defRPr sz="900"/>
            </a:lvl7pPr>
            <a:lvl8pPr marL="2727381" indent="0">
              <a:buNone/>
              <a:defRPr sz="900"/>
            </a:lvl8pPr>
            <a:lvl9pPr marL="3117007" indent="0">
              <a:buNone/>
              <a:defRPr sz="900"/>
            </a:lvl9pPr>
          </a:lstStyle>
          <a:p>
            <a:pPr lvl="0"/>
            <a:r>
              <a:rPr lang="nb-NO" smtClean="0"/>
              <a:t>Klikk for å redigere tekststiler i malen</a:t>
            </a:r>
          </a:p>
        </p:txBody>
      </p:sp>
      <p:sp>
        <p:nvSpPr>
          <p:cNvPr id="5" name="Plassholder for dato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buClr>
                <a:srgbClr val="44546A"/>
              </a:buClr>
            </a:pPr>
            <a:fld id="{57CDDEFD-23F0-42EB-B054-95271AF0C6FD}" type="datetimeFigureOut">
              <a:rPr lang="nb-NO" smtClean="0">
                <a:solidFill>
                  <a:prstClr val="black">
                    <a:tint val="75000"/>
                  </a:prstClr>
                </a:solidFill>
              </a:rPr>
              <a:pPr>
                <a:buClr>
                  <a:srgbClr val="44546A"/>
                </a:buClr>
              </a:pPr>
              <a:t>13.09.2015</a:t>
            </a:fld>
            <a:endParaRPr lang="nb-N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buClr>
                <a:srgbClr val="44546A"/>
              </a:buClr>
            </a:pPr>
            <a:endParaRPr lang="nb-N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buClr>
                <a:srgbClr val="44546A"/>
              </a:buClr>
            </a:pPr>
            <a:fld id="{1C4D0B95-3711-4744-9B0D-35971583D887}" type="slidenum">
              <a:rPr lang="nb-NO" smtClean="0">
                <a:solidFill>
                  <a:prstClr val="black">
                    <a:tint val="75000"/>
                  </a:prstClr>
                </a:solidFill>
              </a:rPr>
              <a:pPr>
                <a:buClr>
                  <a:srgbClr val="44546A"/>
                </a:buClr>
              </a:pPr>
              <a:t>‹#›</a:t>
            </a:fld>
            <a:endParaRPr lang="nb-NO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00242537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e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630115" y="342900"/>
            <a:ext cx="2948354" cy="1200150"/>
          </a:xfrm>
        </p:spPr>
        <p:txBody>
          <a:bodyPr anchor="b"/>
          <a:lstStyle>
            <a:lvl1pPr>
              <a:defRPr sz="2700"/>
            </a:lvl1pPr>
          </a:lstStyle>
          <a:p>
            <a:r>
              <a:rPr lang="nb-NO" smtClean="0"/>
              <a:t>Klikk for å redigere tittelstil</a:t>
            </a:r>
            <a:endParaRPr lang="nb-NO"/>
          </a:p>
        </p:txBody>
      </p:sp>
      <p:sp>
        <p:nvSpPr>
          <p:cNvPr id="3" name="Plassholder for bilde 2"/>
          <p:cNvSpPr>
            <a:spLocks noGrp="1"/>
          </p:cNvSpPr>
          <p:nvPr>
            <p:ph type="pic" idx="1"/>
          </p:nvPr>
        </p:nvSpPr>
        <p:spPr>
          <a:xfrm>
            <a:off x="3887666" y="740569"/>
            <a:ext cx="4629150" cy="3655219"/>
          </a:xfrm>
        </p:spPr>
        <p:txBody>
          <a:bodyPr/>
          <a:lstStyle>
            <a:lvl1pPr marL="0" indent="0">
              <a:buNone/>
              <a:defRPr sz="2700"/>
            </a:lvl1pPr>
            <a:lvl2pPr marL="389626" indent="0">
              <a:buNone/>
              <a:defRPr sz="2400"/>
            </a:lvl2pPr>
            <a:lvl3pPr marL="779252" indent="0">
              <a:buNone/>
              <a:defRPr sz="2000"/>
            </a:lvl3pPr>
            <a:lvl4pPr marL="1168878" indent="0">
              <a:buNone/>
              <a:defRPr sz="1700"/>
            </a:lvl4pPr>
            <a:lvl5pPr marL="1558503" indent="0">
              <a:buNone/>
              <a:defRPr sz="1700"/>
            </a:lvl5pPr>
            <a:lvl6pPr marL="1948129" indent="0">
              <a:buNone/>
              <a:defRPr sz="1700"/>
            </a:lvl6pPr>
            <a:lvl7pPr marL="2337755" indent="0">
              <a:buNone/>
              <a:defRPr sz="1700"/>
            </a:lvl7pPr>
            <a:lvl8pPr marL="2727381" indent="0">
              <a:buNone/>
              <a:defRPr sz="1700"/>
            </a:lvl8pPr>
            <a:lvl9pPr marL="3117007" indent="0">
              <a:buNone/>
              <a:defRPr sz="1700"/>
            </a:lvl9pPr>
          </a:lstStyle>
          <a:p>
            <a:endParaRPr lang="nb-NO"/>
          </a:p>
        </p:txBody>
      </p:sp>
      <p:sp>
        <p:nvSpPr>
          <p:cNvPr id="4" name="Plassholder for tekst 3"/>
          <p:cNvSpPr>
            <a:spLocks noGrp="1"/>
          </p:cNvSpPr>
          <p:nvPr>
            <p:ph type="body" sz="half" idx="2"/>
          </p:nvPr>
        </p:nvSpPr>
        <p:spPr>
          <a:xfrm>
            <a:off x="630115" y="1543050"/>
            <a:ext cx="2948354" cy="2858691"/>
          </a:xfrm>
        </p:spPr>
        <p:txBody>
          <a:bodyPr/>
          <a:lstStyle>
            <a:lvl1pPr marL="0" indent="0">
              <a:buNone/>
              <a:defRPr sz="1400"/>
            </a:lvl1pPr>
            <a:lvl2pPr marL="389626" indent="0">
              <a:buNone/>
              <a:defRPr sz="1200"/>
            </a:lvl2pPr>
            <a:lvl3pPr marL="779252" indent="0">
              <a:buNone/>
              <a:defRPr sz="1000"/>
            </a:lvl3pPr>
            <a:lvl4pPr marL="1168878" indent="0">
              <a:buNone/>
              <a:defRPr sz="900"/>
            </a:lvl4pPr>
            <a:lvl5pPr marL="1558503" indent="0">
              <a:buNone/>
              <a:defRPr sz="900"/>
            </a:lvl5pPr>
            <a:lvl6pPr marL="1948129" indent="0">
              <a:buNone/>
              <a:defRPr sz="900"/>
            </a:lvl6pPr>
            <a:lvl7pPr marL="2337755" indent="0">
              <a:buNone/>
              <a:defRPr sz="900"/>
            </a:lvl7pPr>
            <a:lvl8pPr marL="2727381" indent="0">
              <a:buNone/>
              <a:defRPr sz="900"/>
            </a:lvl8pPr>
            <a:lvl9pPr marL="3117007" indent="0">
              <a:buNone/>
              <a:defRPr sz="900"/>
            </a:lvl9pPr>
          </a:lstStyle>
          <a:p>
            <a:pPr lvl="0"/>
            <a:r>
              <a:rPr lang="nb-NO" smtClean="0"/>
              <a:t>Klikk for å redigere tekststiler i malen</a:t>
            </a:r>
          </a:p>
        </p:txBody>
      </p:sp>
      <p:sp>
        <p:nvSpPr>
          <p:cNvPr id="5" name="Plassholder for dato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buClr>
                <a:srgbClr val="44546A"/>
              </a:buClr>
            </a:pPr>
            <a:fld id="{57CDDEFD-23F0-42EB-B054-95271AF0C6FD}" type="datetimeFigureOut">
              <a:rPr lang="nb-NO" smtClean="0">
                <a:solidFill>
                  <a:prstClr val="black">
                    <a:tint val="75000"/>
                  </a:prstClr>
                </a:solidFill>
              </a:rPr>
              <a:pPr>
                <a:buClr>
                  <a:srgbClr val="44546A"/>
                </a:buClr>
              </a:pPr>
              <a:t>13.09.2015</a:t>
            </a:fld>
            <a:endParaRPr lang="nb-N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buClr>
                <a:srgbClr val="44546A"/>
              </a:buClr>
            </a:pPr>
            <a:endParaRPr lang="nb-N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buClr>
                <a:srgbClr val="44546A"/>
              </a:buClr>
            </a:pPr>
            <a:fld id="{1C4D0B95-3711-4744-9B0D-35971583D887}" type="slidenum">
              <a:rPr lang="nb-NO" smtClean="0">
                <a:solidFill>
                  <a:prstClr val="black">
                    <a:tint val="75000"/>
                  </a:prstClr>
                </a:solidFill>
              </a:rPr>
              <a:pPr>
                <a:buClr>
                  <a:srgbClr val="44546A"/>
                </a:buClr>
              </a:pPr>
              <a:t>‹#›</a:t>
            </a:fld>
            <a:endParaRPr lang="nb-NO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80505270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Loddrett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smtClean="0"/>
              <a:t>Klikk for å redigere tittelstil</a:t>
            </a:r>
            <a:endParaRPr lang="nb-NO"/>
          </a:p>
        </p:txBody>
      </p:sp>
      <p:sp>
        <p:nvSpPr>
          <p:cNvPr id="3" name="Plassholder for loddrett tekst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nb-NO" smtClean="0"/>
              <a:t>Klikk for å redigere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  <a:p>
            <a:pPr lvl="3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nb-NO"/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buClr>
                <a:srgbClr val="44546A"/>
              </a:buClr>
            </a:pPr>
            <a:fld id="{57CDDEFD-23F0-42EB-B054-95271AF0C6FD}" type="datetimeFigureOut">
              <a:rPr lang="nb-NO" smtClean="0">
                <a:solidFill>
                  <a:prstClr val="black">
                    <a:tint val="75000"/>
                  </a:prstClr>
                </a:solidFill>
              </a:rPr>
              <a:pPr>
                <a:buClr>
                  <a:srgbClr val="44546A"/>
                </a:buClr>
              </a:pPr>
              <a:t>13.09.2015</a:t>
            </a:fld>
            <a:endParaRPr lang="nb-N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buClr>
                <a:srgbClr val="44546A"/>
              </a:buClr>
            </a:pPr>
            <a:endParaRPr lang="nb-N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buClr>
                <a:srgbClr val="44546A"/>
              </a:buClr>
            </a:pPr>
            <a:fld id="{1C4D0B95-3711-4744-9B0D-35971583D887}" type="slidenum">
              <a:rPr lang="nb-NO" smtClean="0">
                <a:solidFill>
                  <a:prstClr val="black">
                    <a:tint val="75000"/>
                  </a:prstClr>
                </a:solidFill>
              </a:rPr>
              <a:pPr>
                <a:buClr>
                  <a:srgbClr val="44546A"/>
                </a:buClr>
              </a:pPr>
              <a:t>‹#›</a:t>
            </a:fld>
            <a:endParaRPr lang="nb-NO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28402537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Loddrett tittel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oddrett tittel 1"/>
          <p:cNvSpPr>
            <a:spLocks noGrp="1"/>
          </p:cNvSpPr>
          <p:nvPr>
            <p:ph type="title" orient="vert"/>
          </p:nvPr>
        </p:nvSpPr>
        <p:spPr>
          <a:xfrm>
            <a:off x="6544408" y="273844"/>
            <a:ext cx="1970943" cy="4358879"/>
          </a:xfrm>
        </p:spPr>
        <p:txBody>
          <a:bodyPr vert="eaVert"/>
          <a:lstStyle/>
          <a:p>
            <a:r>
              <a:rPr lang="nb-NO" smtClean="0"/>
              <a:t>Klikk for å redigere tittelstil</a:t>
            </a:r>
            <a:endParaRPr lang="nb-NO"/>
          </a:p>
        </p:txBody>
      </p:sp>
      <p:sp>
        <p:nvSpPr>
          <p:cNvPr id="3" name="Plassholder for loddrett tekst 2"/>
          <p:cNvSpPr>
            <a:spLocks noGrp="1"/>
          </p:cNvSpPr>
          <p:nvPr>
            <p:ph type="body" orient="vert" idx="1"/>
          </p:nvPr>
        </p:nvSpPr>
        <p:spPr>
          <a:xfrm>
            <a:off x="628651" y="273844"/>
            <a:ext cx="5775080" cy="4358879"/>
          </a:xfrm>
        </p:spPr>
        <p:txBody>
          <a:bodyPr vert="eaVert"/>
          <a:lstStyle/>
          <a:p>
            <a:pPr lvl="0"/>
            <a:r>
              <a:rPr lang="nb-NO" smtClean="0"/>
              <a:t>Klikk for å redigere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  <a:p>
            <a:pPr lvl="3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nb-NO"/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buClr>
                <a:srgbClr val="44546A"/>
              </a:buClr>
            </a:pPr>
            <a:fld id="{57CDDEFD-23F0-42EB-B054-95271AF0C6FD}" type="datetimeFigureOut">
              <a:rPr lang="nb-NO" smtClean="0">
                <a:solidFill>
                  <a:prstClr val="black">
                    <a:tint val="75000"/>
                  </a:prstClr>
                </a:solidFill>
              </a:rPr>
              <a:pPr>
                <a:buClr>
                  <a:srgbClr val="44546A"/>
                </a:buClr>
              </a:pPr>
              <a:t>13.09.2015</a:t>
            </a:fld>
            <a:endParaRPr lang="nb-N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buClr>
                <a:srgbClr val="44546A"/>
              </a:buClr>
            </a:pPr>
            <a:endParaRPr lang="nb-N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buClr>
                <a:srgbClr val="44546A"/>
              </a:buClr>
            </a:pPr>
            <a:fld id="{1C4D0B95-3711-4744-9B0D-35971583D887}" type="slidenum">
              <a:rPr lang="nb-NO" smtClean="0">
                <a:solidFill>
                  <a:prstClr val="black">
                    <a:tint val="75000"/>
                  </a:prstClr>
                </a:solidFill>
              </a:rPr>
              <a:pPr>
                <a:buClr>
                  <a:srgbClr val="44546A"/>
                </a:buClr>
              </a:pPr>
              <a:t>‹#›</a:t>
            </a:fld>
            <a:endParaRPr lang="nb-NO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5262839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tellys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1143000" y="841772"/>
            <a:ext cx="6858000" cy="1790700"/>
          </a:xfrm>
        </p:spPr>
        <p:txBody>
          <a:bodyPr anchor="b"/>
          <a:lstStyle>
            <a:lvl1pPr algn="ctr">
              <a:defRPr sz="5100"/>
            </a:lvl1pPr>
          </a:lstStyle>
          <a:p>
            <a:r>
              <a:rPr lang="nb-NO" smtClean="0"/>
              <a:t>Klikk for å redigere tittelstil</a:t>
            </a:r>
            <a:endParaRPr lang="nb-NO"/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1143000" y="2701528"/>
            <a:ext cx="6858000" cy="1241822"/>
          </a:xfrm>
        </p:spPr>
        <p:txBody>
          <a:bodyPr/>
          <a:lstStyle>
            <a:lvl1pPr marL="0" indent="0" algn="ctr">
              <a:buNone/>
              <a:defRPr sz="2000"/>
            </a:lvl1pPr>
            <a:lvl2pPr marL="389582" indent="0" algn="ctr">
              <a:buNone/>
              <a:defRPr sz="1700"/>
            </a:lvl2pPr>
            <a:lvl3pPr marL="779163" indent="0" algn="ctr">
              <a:buNone/>
              <a:defRPr sz="1500"/>
            </a:lvl3pPr>
            <a:lvl4pPr marL="1168745" indent="0" algn="ctr">
              <a:buNone/>
              <a:defRPr sz="1400"/>
            </a:lvl4pPr>
            <a:lvl5pPr marL="1558326" indent="0" algn="ctr">
              <a:buNone/>
              <a:defRPr sz="1400"/>
            </a:lvl5pPr>
            <a:lvl6pPr marL="1947908" indent="0" algn="ctr">
              <a:buNone/>
              <a:defRPr sz="1400"/>
            </a:lvl6pPr>
            <a:lvl7pPr marL="2337489" indent="0" algn="ctr">
              <a:buNone/>
              <a:defRPr sz="1400"/>
            </a:lvl7pPr>
            <a:lvl8pPr marL="2727071" indent="0" algn="ctr">
              <a:buNone/>
              <a:defRPr sz="1400"/>
            </a:lvl8pPr>
            <a:lvl9pPr marL="3116652" indent="0" algn="ctr">
              <a:buNone/>
              <a:defRPr sz="1400"/>
            </a:lvl9pPr>
          </a:lstStyle>
          <a:p>
            <a:r>
              <a:rPr lang="nb-NO" smtClean="0"/>
              <a:t>Klikk for å redigere undertittelstil i malen</a:t>
            </a:r>
            <a:endParaRPr lang="nb-NO"/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buClr>
                <a:srgbClr val="44546A"/>
              </a:buClr>
            </a:pPr>
            <a:fld id="{57CDDEFD-23F0-42EB-B054-95271AF0C6FD}" type="datetimeFigureOut">
              <a:rPr lang="nb-NO" smtClean="0">
                <a:solidFill>
                  <a:prstClr val="black">
                    <a:tint val="75000"/>
                  </a:prstClr>
                </a:solidFill>
              </a:rPr>
              <a:pPr>
                <a:buClr>
                  <a:srgbClr val="44546A"/>
                </a:buClr>
              </a:pPr>
              <a:t>13.09.2015</a:t>
            </a:fld>
            <a:endParaRPr lang="nb-N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buClr>
                <a:srgbClr val="44546A"/>
              </a:buClr>
            </a:pPr>
            <a:endParaRPr lang="nb-N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buClr>
                <a:srgbClr val="44546A"/>
              </a:buClr>
            </a:pPr>
            <a:fld id="{1C4D0B95-3711-4744-9B0D-35971583D887}" type="slidenum">
              <a:rPr lang="nb-NO" smtClean="0">
                <a:solidFill>
                  <a:prstClr val="black">
                    <a:tint val="75000"/>
                  </a:prstClr>
                </a:solidFill>
              </a:rPr>
              <a:pPr>
                <a:buClr>
                  <a:srgbClr val="44546A"/>
                </a:buClr>
              </a:pPr>
              <a:t>‹#›</a:t>
            </a:fld>
            <a:endParaRPr lang="nb-NO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8824963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628652" y="273844"/>
            <a:ext cx="6835502" cy="684944"/>
          </a:xfrm>
        </p:spPr>
        <p:txBody>
          <a:bodyPr>
            <a:normAutofit/>
          </a:bodyPr>
          <a:lstStyle>
            <a:lvl1pPr>
              <a:defRPr sz="2400" b="1">
                <a:solidFill>
                  <a:srgbClr val="7030A0"/>
                </a:solidFill>
                <a:latin typeface="+mn-lt"/>
              </a:defRPr>
            </a:lvl1pPr>
          </a:lstStyle>
          <a:p>
            <a:r>
              <a:rPr lang="nb-NO" smtClean="0"/>
              <a:t>Klikk for å redigere tittelstil</a:t>
            </a:r>
            <a:endParaRPr lang="nb-NO"/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628650" y="1111930"/>
            <a:ext cx="8106977" cy="3329126"/>
          </a:xfrm>
        </p:spPr>
        <p:txBody>
          <a:bodyPr>
            <a:normAutofit/>
          </a:bodyPr>
          <a:lstStyle>
            <a:lvl1pPr>
              <a:defRPr sz="1700"/>
            </a:lvl1pPr>
            <a:lvl2pPr>
              <a:defRPr sz="15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nb-NO" dirty="0" smtClean="0"/>
              <a:t>Klikk for å redigere tekststiler i malen</a:t>
            </a:r>
          </a:p>
          <a:p>
            <a:pPr lvl="1"/>
            <a:r>
              <a:rPr lang="nb-NO" dirty="0" smtClean="0"/>
              <a:t>Andre nivå</a:t>
            </a:r>
          </a:p>
          <a:p>
            <a:pPr lvl="2"/>
            <a:r>
              <a:rPr lang="nb-NO" dirty="0" smtClean="0"/>
              <a:t>Tredje nivå</a:t>
            </a:r>
          </a:p>
          <a:p>
            <a:pPr lvl="3"/>
            <a:r>
              <a:rPr lang="nb-NO" dirty="0" smtClean="0"/>
              <a:t>Fjerde nivå</a:t>
            </a:r>
          </a:p>
          <a:p>
            <a:pPr lvl="4"/>
            <a:r>
              <a:rPr lang="nb-NO" dirty="0" smtClean="0"/>
              <a:t>Femte nivå</a:t>
            </a:r>
            <a:endParaRPr lang="nb-NO" dirty="0"/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>
          <a:xfrm>
            <a:off x="628652" y="4767264"/>
            <a:ext cx="1642459" cy="273844"/>
          </a:xfrm>
        </p:spPr>
        <p:txBody>
          <a:bodyPr/>
          <a:lstStyle/>
          <a:p>
            <a:pPr>
              <a:buClr>
                <a:srgbClr val="44546A"/>
              </a:buClr>
            </a:pPr>
            <a:fld id="{57CDDEFD-23F0-42EB-B054-95271AF0C6FD}" type="datetimeFigureOut">
              <a:rPr lang="nb-NO" smtClean="0">
                <a:solidFill>
                  <a:prstClr val="black">
                    <a:tint val="75000"/>
                  </a:prstClr>
                </a:solidFill>
              </a:rPr>
              <a:pPr>
                <a:buClr>
                  <a:srgbClr val="44546A"/>
                </a:buClr>
              </a:pPr>
              <a:t>13.09.2015</a:t>
            </a:fld>
            <a:endParaRPr lang="nb-N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buClr>
                <a:srgbClr val="44546A"/>
              </a:buClr>
            </a:pPr>
            <a:endParaRPr lang="nb-N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>
          <a:xfrm>
            <a:off x="8178384" y="4767264"/>
            <a:ext cx="566425" cy="273844"/>
          </a:xfrm>
        </p:spPr>
        <p:txBody>
          <a:bodyPr/>
          <a:lstStyle/>
          <a:p>
            <a:pPr>
              <a:buClr>
                <a:srgbClr val="44546A"/>
              </a:buClr>
            </a:pPr>
            <a:fld id="{1C4D0B95-3711-4744-9B0D-35971583D887}" type="slidenum">
              <a:rPr lang="nb-NO" smtClean="0">
                <a:solidFill>
                  <a:prstClr val="black">
                    <a:tint val="75000"/>
                  </a:prstClr>
                </a:solidFill>
              </a:rPr>
              <a:pPr>
                <a:buClr>
                  <a:srgbClr val="44546A"/>
                </a:buClr>
              </a:pPr>
              <a:t>‹#›</a:t>
            </a:fld>
            <a:endParaRPr lang="nb-NO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7" name="Bilde 6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74924" y="4686022"/>
            <a:ext cx="295209" cy="373832"/>
          </a:xfrm>
          <a:prstGeom prst="rect">
            <a:avLst/>
          </a:prstGeom>
        </p:spPr>
      </p:pic>
      <p:pic>
        <p:nvPicPr>
          <p:cNvPr id="8" name="Bilde 7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82663" y="4834364"/>
            <a:ext cx="800411" cy="233068"/>
          </a:xfrm>
          <a:prstGeom prst="rect">
            <a:avLst/>
          </a:prstGeom>
        </p:spPr>
      </p:pic>
      <p:pic>
        <p:nvPicPr>
          <p:cNvPr id="9" name="Bilde 8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34681" y="4740939"/>
            <a:ext cx="1109247" cy="333152"/>
          </a:xfrm>
          <a:prstGeom prst="rect">
            <a:avLst/>
          </a:prstGeom>
        </p:spPr>
      </p:pic>
      <p:pic>
        <p:nvPicPr>
          <p:cNvPr id="10" name="Bilde 9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04830" y="273845"/>
            <a:ext cx="1130798" cy="4718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6450638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Del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624254" y="1282305"/>
            <a:ext cx="7886700" cy="2139553"/>
          </a:xfrm>
        </p:spPr>
        <p:txBody>
          <a:bodyPr anchor="b"/>
          <a:lstStyle>
            <a:lvl1pPr>
              <a:defRPr sz="5100"/>
            </a:lvl1pPr>
          </a:lstStyle>
          <a:p>
            <a:r>
              <a:rPr lang="nb-NO" smtClean="0"/>
              <a:t>Klikk for å redigere tittelstil</a:t>
            </a:r>
            <a:endParaRPr lang="nb-NO"/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624254" y="3442099"/>
            <a:ext cx="7886700" cy="1125140"/>
          </a:xfrm>
        </p:spPr>
        <p:txBody>
          <a:bodyPr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389582" indent="0">
              <a:buNone/>
              <a:defRPr sz="1700">
                <a:solidFill>
                  <a:schemeClr val="tx1">
                    <a:tint val="75000"/>
                  </a:schemeClr>
                </a:solidFill>
              </a:defRPr>
            </a:lvl2pPr>
            <a:lvl3pPr marL="779163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3pPr>
            <a:lvl4pPr marL="1168745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55832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1947908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337489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2727071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116652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 smtClean="0"/>
              <a:t>Klikk for å redigere tekststiler i malen</a:t>
            </a: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buClr>
                <a:srgbClr val="44546A"/>
              </a:buClr>
            </a:pPr>
            <a:fld id="{57CDDEFD-23F0-42EB-B054-95271AF0C6FD}" type="datetimeFigureOut">
              <a:rPr lang="nb-NO" smtClean="0">
                <a:solidFill>
                  <a:prstClr val="black">
                    <a:tint val="75000"/>
                  </a:prstClr>
                </a:solidFill>
              </a:rPr>
              <a:pPr>
                <a:buClr>
                  <a:srgbClr val="44546A"/>
                </a:buClr>
              </a:pPr>
              <a:t>13.09.2015</a:t>
            </a:fld>
            <a:endParaRPr lang="nb-N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buClr>
                <a:srgbClr val="44546A"/>
              </a:buClr>
            </a:pPr>
            <a:endParaRPr lang="nb-N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buClr>
                <a:srgbClr val="44546A"/>
              </a:buClr>
            </a:pPr>
            <a:fld id="{1C4D0B95-3711-4744-9B0D-35971583D887}" type="slidenum">
              <a:rPr lang="nb-NO" smtClean="0">
                <a:solidFill>
                  <a:prstClr val="black">
                    <a:tint val="75000"/>
                  </a:prstClr>
                </a:solidFill>
              </a:rPr>
              <a:pPr>
                <a:buClr>
                  <a:srgbClr val="44546A"/>
                </a:buClr>
              </a:pPr>
              <a:t>‹#›</a:t>
            </a:fld>
            <a:endParaRPr lang="nb-NO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10272176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smtClean="0"/>
              <a:t>Klikk for å redigere tittelstil</a:t>
            </a:r>
            <a:endParaRPr lang="nb-NO"/>
          </a:p>
        </p:txBody>
      </p:sp>
      <p:sp>
        <p:nvSpPr>
          <p:cNvPr id="3" name="Plassholder for innhold 2"/>
          <p:cNvSpPr>
            <a:spLocks noGrp="1"/>
          </p:cNvSpPr>
          <p:nvPr>
            <p:ph sz="half" idx="1"/>
          </p:nvPr>
        </p:nvSpPr>
        <p:spPr>
          <a:xfrm>
            <a:off x="628651" y="1369219"/>
            <a:ext cx="3873011" cy="3263504"/>
          </a:xfrm>
        </p:spPr>
        <p:txBody>
          <a:bodyPr/>
          <a:lstStyle/>
          <a:p>
            <a:pPr lvl="0"/>
            <a:r>
              <a:rPr lang="nb-NO" smtClean="0"/>
              <a:t>Klikk for å redigere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  <a:p>
            <a:pPr lvl="3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nb-NO"/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4642340" y="1369219"/>
            <a:ext cx="3873012" cy="3263504"/>
          </a:xfrm>
        </p:spPr>
        <p:txBody>
          <a:bodyPr/>
          <a:lstStyle/>
          <a:p>
            <a:pPr lvl="0"/>
            <a:r>
              <a:rPr lang="nb-NO" smtClean="0"/>
              <a:t>Klikk for å redigere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  <a:p>
            <a:pPr lvl="3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nb-NO"/>
          </a:p>
        </p:txBody>
      </p:sp>
      <p:sp>
        <p:nvSpPr>
          <p:cNvPr id="5" name="Plassholder for dato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buClr>
                <a:srgbClr val="44546A"/>
              </a:buClr>
            </a:pPr>
            <a:fld id="{57CDDEFD-23F0-42EB-B054-95271AF0C6FD}" type="datetimeFigureOut">
              <a:rPr lang="nb-NO" smtClean="0">
                <a:solidFill>
                  <a:prstClr val="black">
                    <a:tint val="75000"/>
                  </a:prstClr>
                </a:solidFill>
              </a:rPr>
              <a:pPr>
                <a:buClr>
                  <a:srgbClr val="44546A"/>
                </a:buClr>
              </a:pPr>
              <a:t>13.09.2015</a:t>
            </a:fld>
            <a:endParaRPr lang="nb-N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buClr>
                <a:srgbClr val="44546A"/>
              </a:buClr>
            </a:pPr>
            <a:endParaRPr lang="nb-N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buClr>
                <a:srgbClr val="44546A"/>
              </a:buClr>
            </a:pPr>
            <a:fld id="{1C4D0B95-3711-4744-9B0D-35971583D887}" type="slidenum">
              <a:rPr lang="nb-NO" smtClean="0">
                <a:solidFill>
                  <a:prstClr val="black">
                    <a:tint val="75000"/>
                  </a:prstClr>
                </a:solidFill>
              </a:rPr>
              <a:pPr>
                <a:buClr>
                  <a:srgbClr val="44546A"/>
                </a:buClr>
              </a:pPr>
              <a:t>‹#›</a:t>
            </a:fld>
            <a:endParaRPr lang="nb-NO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96934639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630117" y="273844"/>
            <a:ext cx="7886700" cy="994172"/>
          </a:xfrm>
        </p:spPr>
        <p:txBody>
          <a:bodyPr/>
          <a:lstStyle/>
          <a:p>
            <a:r>
              <a:rPr lang="nb-NO" smtClean="0"/>
              <a:t>Klikk for å redigere tittelstil</a:t>
            </a:r>
            <a:endParaRPr lang="nb-NO"/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630117" y="1260872"/>
            <a:ext cx="3868615" cy="617934"/>
          </a:xfrm>
        </p:spPr>
        <p:txBody>
          <a:bodyPr anchor="b"/>
          <a:lstStyle>
            <a:lvl1pPr marL="0" indent="0">
              <a:buNone/>
              <a:defRPr sz="2000" b="1"/>
            </a:lvl1pPr>
            <a:lvl2pPr marL="389582" indent="0">
              <a:buNone/>
              <a:defRPr sz="1700" b="1"/>
            </a:lvl2pPr>
            <a:lvl3pPr marL="779163" indent="0">
              <a:buNone/>
              <a:defRPr sz="1500" b="1"/>
            </a:lvl3pPr>
            <a:lvl4pPr marL="1168745" indent="0">
              <a:buNone/>
              <a:defRPr sz="1400" b="1"/>
            </a:lvl4pPr>
            <a:lvl5pPr marL="1558326" indent="0">
              <a:buNone/>
              <a:defRPr sz="1400" b="1"/>
            </a:lvl5pPr>
            <a:lvl6pPr marL="1947908" indent="0">
              <a:buNone/>
              <a:defRPr sz="1400" b="1"/>
            </a:lvl6pPr>
            <a:lvl7pPr marL="2337489" indent="0">
              <a:buNone/>
              <a:defRPr sz="1400" b="1"/>
            </a:lvl7pPr>
            <a:lvl8pPr marL="2727071" indent="0">
              <a:buNone/>
              <a:defRPr sz="1400" b="1"/>
            </a:lvl8pPr>
            <a:lvl9pPr marL="3116652" indent="0">
              <a:buNone/>
              <a:defRPr sz="1400" b="1"/>
            </a:lvl9pPr>
          </a:lstStyle>
          <a:p>
            <a:pPr lvl="0"/>
            <a:r>
              <a:rPr lang="nb-NO" smtClean="0"/>
              <a:t>Klikk for å redigere tekststiler i malen</a:t>
            </a:r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630117" y="1878806"/>
            <a:ext cx="3868615" cy="2763441"/>
          </a:xfrm>
        </p:spPr>
        <p:txBody>
          <a:bodyPr/>
          <a:lstStyle/>
          <a:p>
            <a:pPr lvl="0"/>
            <a:r>
              <a:rPr lang="nb-NO" smtClean="0"/>
              <a:t>Klikk for å redigere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  <a:p>
            <a:pPr lvl="3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nb-NO"/>
          </a:p>
        </p:txBody>
      </p:sp>
      <p:sp>
        <p:nvSpPr>
          <p:cNvPr id="5" name="Plassholder for tekst 4"/>
          <p:cNvSpPr>
            <a:spLocks noGrp="1"/>
          </p:cNvSpPr>
          <p:nvPr>
            <p:ph type="body" sz="quarter" idx="3"/>
          </p:nvPr>
        </p:nvSpPr>
        <p:spPr>
          <a:xfrm>
            <a:off x="4629152" y="1260872"/>
            <a:ext cx="3887665" cy="617934"/>
          </a:xfrm>
        </p:spPr>
        <p:txBody>
          <a:bodyPr anchor="b"/>
          <a:lstStyle>
            <a:lvl1pPr marL="0" indent="0">
              <a:buNone/>
              <a:defRPr sz="2000" b="1"/>
            </a:lvl1pPr>
            <a:lvl2pPr marL="389582" indent="0">
              <a:buNone/>
              <a:defRPr sz="1700" b="1"/>
            </a:lvl2pPr>
            <a:lvl3pPr marL="779163" indent="0">
              <a:buNone/>
              <a:defRPr sz="1500" b="1"/>
            </a:lvl3pPr>
            <a:lvl4pPr marL="1168745" indent="0">
              <a:buNone/>
              <a:defRPr sz="1400" b="1"/>
            </a:lvl4pPr>
            <a:lvl5pPr marL="1558326" indent="0">
              <a:buNone/>
              <a:defRPr sz="1400" b="1"/>
            </a:lvl5pPr>
            <a:lvl6pPr marL="1947908" indent="0">
              <a:buNone/>
              <a:defRPr sz="1400" b="1"/>
            </a:lvl6pPr>
            <a:lvl7pPr marL="2337489" indent="0">
              <a:buNone/>
              <a:defRPr sz="1400" b="1"/>
            </a:lvl7pPr>
            <a:lvl8pPr marL="2727071" indent="0">
              <a:buNone/>
              <a:defRPr sz="1400" b="1"/>
            </a:lvl8pPr>
            <a:lvl9pPr marL="3116652" indent="0">
              <a:buNone/>
              <a:defRPr sz="1400" b="1"/>
            </a:lvl9pPr>
          </a:lstStyle>
          <a:p>
            <a:pPr lvl="0"/>
            <a:r>
              <a:rPr lang="nb-NO" smtClean="0"/>
              <a:t>Klikk for å redigere tekststiler i malen</a:t>
            </a:r>
          </a:p>
        </p:txBody>
      </p:sp>
      <p:sp>
        <p:nvSpPr>
          <p:cNvPr id="6" name="Plassholder for innhold 5"/>
          <p:cNvSpPr>
            <a:spLocks noGrp="1"/>
          </p:cNvSpPr>
          <p:nvPr>
            <p:ph sz="quarter" idx="4"/>
          </p:nvPr>
        </p:nvSpPr>
        <p:spPr>
          <a:xfrm>
            <a:off x="4629152" y="1878806"/>
            <a:ext cx="3887665" cy="2763441"/>
          </a:xfrm>
        </p:spPr>
        <p:txBody>
          <a:bodyPr/>
          <a:lstStyle/>
          <a:p>
            <a:pPr lvl="0"/>
            <a:r>
              <a:rPr lang="nb-NO" smtClean="0"/>
              <a:t>Klikk for å redigere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  <a:p>
            <a:pPr lvl="3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nb-NO"/>
          </a:p>
        </p:txBody>
      </p:sp>
      <p:sp>
        <p:nvSpPr>
          <p:cNvPr id="7" name="Plassholder for dato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buClr>
                <a:srgbClr val="44546A"/>
              </a:buClr>
            </a:pPr>
            <a:fld id="{57CDDEFD-23F0-42EB-B054-95271AF0C6FD}" type="datetimeFigureOut">
              <a:rPr lang="nb-NO" smtClean="0">
                <a:solidFill>
                  <a:prstClr val="black">
                    <a:tint val="75000"/>
                  </a:prstClr>
                </a:solidFill>
              </a:rPr>
              <a:pPr>
                <a:buClr>
                  <a:srgbClr val="44546A"/>
                </a:buClr>
              </a:pPr>
              <a:t>13.09.2015</a:t>
            </a:fld>
            <a:endParaRPr lang="nb-N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Plassholder for bunntekst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buClr>
                <a:srgbClr val="44546A"/>
              </a:buClr>
            </a:pPr>
            <a:endParaRPr lang="nb-N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Plassholder for lysbildenumm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buClr>
                <a:srgbClr val="44546A"/>
              </a:buClr>
            </a:pPr>
            <a:fld id="{1C4D0B95-3711-4744-9B0D-35971583D887}" type="slidenum">
              <a:rPr lang="nb-NO" smtClean="0">
                <a:solidFill>
                  <a:prstClr val="black">
                    <a:tint val="75000"/>
                  </a:prstClr>
                </a:solidFill>
              </a:rPr>
              <a:pPr>
                <a:buClr>
                  <a:srgbClr val="44546A"/>
                </a:buClr>
              </a:pPr>
              <a:t>‹#›</a:t>
            </a:fld>
            <a:endParaRPr lang="nb-NO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8839316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elforside #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Bilde 10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5000"/>
          <a:stretch/>
        </p:blipFill>
        <p:spPr>
          <a:xfrm>
            <a:off x="1" y="1"/>
            <a:ext cx="9143245" cy="4708772"/>
          </a:xfrm>
          <a:prstGeom prst="rect">
            <a:avLst/>
          </a:prstGeom>
          <a:solidFill>
            <a:schemeClr val="accent2"/>
          </a:solidFill>
        </p:spPr>
      </p:pic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685800" y="1608315"/>
            <a:ext cx="7772400" cy="402279"/>
          </a:xfrm>
        </p:spPr>
        <p:txBody>
          <a:bodyPr>
            <a:spAutoFit/>
          </a:bodyPr>
          <a:lstStyle>
            <a:lvl1pPr algn="l">
              <a:defRPr b="1">
                <a:solidFill>
                  <a:schemeClr val="bg1"/>
                </a:solidFill>
              </a:defRPr>
            </a:lvl1pPr>
          </a:lstStyle>
          <a:p>
            <a:r>
              <a:rPr lang="nb-NO" smtClean="0"/>
              <a:t>Klikk for å redigere tittelstil</a:t>
            </a:r>
            <a:endParaRPr lang="nb-NO" dirty="0"/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685800" y="1990829"/>
            <a:ext cx="7772400" cy="279168"/>
          </a:xfrm>
        </p:spPr>
        <p:txBody>
          <a:bodyPr wrap="square">
            <a:spAutoFit/>
          </a:bodyPr>
          <a:lstStyle>
            <a:lvl1pPr marL="0" indent="0" algn="l">
              <a:buNone/>
              <a:defRPr>
                <a:solidFill>
                  <a:schemeClr val="bg1"/>
                </a:solidFill>
              </a:defRPr>
            </a:lvl1pPr>
            <a:lvl2pPr marL="4571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29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5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7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8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03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1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b-NO" smtClean="0"/>
              <a:t>Klikk for å redigere undertittelstil i malen</a:t>
            </a:r>
            <a:endParaRPr lang="nb-NO" dirty="0"/>
          </a:p>
        </p:txBody>
      </p:sp>
      <p:sp>
        <p:nvSpPr>
          <p:cNvPr id="6" name="Plassholder for dato 3"/>
          <p:cNvSpPr>
            <a:spLocks noGrp="1"/>
          </p:cNvSpPr>
          <p:nvPr>
            <p:ph type="dt" sz="half" idx="10"/>
          </p:nvPr>
        </p:nvSpPr>
        <p:spPr>
          <a:xfrm>
            <a:off x="6732240" y="4993004"/>
            <a:ext cx="1080120" cy="108011"/>
          </a:xfrm>
          <a:prstGeom prst="rect">
            <a:avLst/>
          </a:prstGeom>
        </p:spPr>
        <p:txBody>
          <a:bodyPr anchor="ctr" anchorCtr="0"/>
          <a:lstStyle>
            <a:lvl1pPr>
              <a:defRPr sz="800">
                <a:solidFill>
                  <a:srgbClr val="003244"/>
                </a:solidFill>
              </a:defRPr>
            </a:lvl1pPr>
          </a:lstStyle>
          <a:p>
            <a:fld id="{1846E698-F08B-44E6-A8AC-AF8E61AAADD4}" type="datetime1">
              <a:rPr lang="nb-NO" smtClean="0"/>
              <a:t>13.09.2015</a:t>
            </a:fld>
            <a:endParaRPr lang="nb-NO" dirty="0"/>
          </a:p>
        </p:txBody>
      </p:sp>
      <p:sp>
        <p:nvSpPr>
          <p:cNvPr id="8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6732240" y="4776980"/>
            <a:ext cx="2160240" cy="162017"/>
          </a:xfrm>
          <a:prstGeom prst="rect">
            <a:avLst/>
          </a:prstGeom>
        </p:spPr>
        <p:txBody>
          <a:bodyPr anchor="ctr" anchorCtr="0"/>
          <a:lstStyle>
            <a:lvl1pPr algn="l">
              <a:defRPr sz="1000" b="1">
                <a:solidFill>
                  <a:srgbClr val="039BAF"/>
                </a:solidFill>
              </a:defRPr>
            </a:lvl1pPr>
          </a:lstStyle>
          <a:p>
            <a:r>
              <a:rPr lang="nb-NO" smtClean="0"/>
              <a:t>IKT utfordringsbilde</a:t>
            </a:r>
            <a:endParaRPr lang="nb-NO" dirty="0"/>
          </a:p>
        </p:txBody>
      </p:sp>
      <p:sp>
        <p:nvSpPr>
          <p:cNvPr id="9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7884368" y="4993004"/>
            <a:ext cx="648072" cy="108011"/>
          </a:xfrm>
          <a:prstGeom prst="rect">
            <a:avLst/>
          </a:prstGeom>
        </p:spPr>
        <p:txBody>
          <a:bodyPr anchor="ctr" anchorCtr="0"/>
          <a:lstStyle>
            <a:lvl1pPr>
              <a:defRPr sz="800">
                <a:solidFill>
                  <a:srgbClr val="003244"/>
                </a:solidFill>
              </a:defRPr>
            </a:lvl1pPr>
          </a:lstStyle>
          <a:p>
            <a:fld id="{CDA22134-EA94-4B2E-9154-EB8F13265450}" type="slidenum">
              <a:rPr lang="nb-NO" smtClean="0"/>
              <a:pPr/>
              <a:t>‹#›</a:t>
            </a:fld>
            <a:endParaRPr lang="nb-NO" dirty="0"/>
          </a:p>
        </p:txBody>
      </p:sp>
      <p:pic>
        <p:nvPicPr>
          <p:cNvPr id="10" name="Bilde 9"/>
          <p:cNvPicPr>
            <a:picLocks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6239" y="4894009"/>
            <a:ext cx="1076709" cy="1467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4381133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smtClean="0"/>
              <a:t>Klikk for å redigere tittelstil</a:t>
            </a:r>
            <a:endParaRPr lang="nb-NO"/>
          </a:p>
        </p:txBody>
      </p:sp>
      <p:sp>
        <p:nvSpPr>
          <p:cNvPr id="3" name="Plassholder for dato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buClr>
                <a:srgbClr val="44546A"/>
              </a:buClr>
            </a:pPr>
            <a:fld id="{57CDDEFD-23F0-42EB-B054-95271AF0C6FD}" type="datetimeFigureOut">
              <a:rPr lang="nb-NO" smtClean="0">
                <a:solidFill>
                  <a:prstClr val="black">
                    <a:tint val="75000"/>
                  </a:prstClr>
                </a:solidFill>
              </a:rPr>
              <a:pPr>
                <a:buClr>
                  <a:srgbClr val="44546A"/>
                </a:buClr>
              </a:pPr>
              <a:t>13.09.2015</a:t>
            </a:fld>
            <a:endParaRPr lang="nb-N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Plassholder for bunntekst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buClr>
                <a:srgbClr val="44546A"/>
              </a:buClr>
            </a:pPr>
            <a:endParaRPr lang="nb-N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Plassholder for lysbilde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buClr>
                <a:srgbClr val="44546A"/>
              </a:buClr>
            </a:pPr>
            <a:fld id="{1C4D0B95-3711-4744-9B0D-35971583D887}" type="slidenum">
              <a:rPr lang="nb-NO" smtClean="0">
                <a:solidFill>
                  <a:prstClr val="black">
                    <a:tint val="75000"/>
                  </a:prstClr>
                </a:solidFill>
              </a:rPr>
              <a:pPr>
                <a:buClr>
                  <a:srgbClr val="44546A"/>
                </a:buClr>
              </a:pPr>
              <a:t>‹#›</a:t>
            </a:fld>
            <a:endParaRPr lang="nb-NO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76954093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dato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buClr>
                <a:srgbClr val="44546A"/>
              </a:buClr>
            </a:pPr>
            <a:fld id="{57CDDEFD-23F0-42EB-B054-95271AF0C6FD}" type="datetimeFigureOut">
              <a:rPr lang="nb-NO" smtClean="0">
                <a:solidFill>
                  <a:prstClr val="black">
                    <a:tint val="75000"/>
                  </a:prstClr>
                </a:solidFill>
              </a:rPr>
              <a:pPr>
                <a:buClr>
                  <a:srgbClr val="44546A"/>
                </a:buClr>
              </a:pPr>
              <a:t>13.09.2015</a:t>
            </a:fld>
            <a:endParaRPr lang="nb-N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Plassholder for bunntekst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buClr>
                <a:srgbClr val="44546A"/>
              </a:buClr>
            </a:pPr>
            <a:endParaRPr lang="nb-N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buClr>
                <a:srgbClr val="44546A"/>
              </a:buClr>
            </a:pPr>
            <a:fld id="{1C4D0B95-3711-4744-9B0D-35971583D887}" type="slidenum">
              <a:rPr lang="nb-NO" smtClean="0">
                <a:solidFill>
                  <a:prstClr val="black">
                    <a:tint val="75000"/>
                  </a:prstClr>
                </a:solidFill>
              </a:rPr>
              <a:pPr>
                <a:buClr>
                  <a:srgbClr val="44546A"/>
                </a:buClr>
              </a:pPr>
              <a:t>‹#›</a:t>
            </a:fld>
            <a:endParaRPr lang="nb-NO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79644347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nhold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630115" y="342900"/>
            <a:ext cx="2948354" cy="1200150"/>
          </a:xfrm>
        </p:spPr>
        <p:txBody>
          <a:bodyPr anchor="b"/>
          <a:lstStyle>
            <a:lvl1pPr>
              <a:defRPr sz="2700"/>
            </a:lvl1pPr>
          </a:lstStyle>
          <a:p>
            <a:r>
              <a:rPr lang="nb-NO" smtClean="0"/>
              <a:t>Klikk for å redigere tittelstil</a:t>
            </a:r>
            <a:endParaRPr lang="nb-NO"/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3887667" y="740570"/>
            <a:ext cx="4629150" cy="3655219"/>
          </a:xfrm>
        </p:spPr>
        <p:txBody>
          <a:bodyPr/>
          <a:lstStyle>
            <a:lvl1pPr>
              <a:defRPr sz="2700"/>
            </a:lvl1pPr>
            <a:lvl2pPr>
              <a:defRPr sz="2400"/>
            </a:lvl2pPr>
            <a:lvl3pPr>
              <a:defRPr sz="2000"/>
            </a:lvl3pPr>
            <a:lvl4pPr>
              <a:defRPr sz="1700"/>
            </a:lvl4pPr>
            <a:lvl5pPr>
              <a:defRPr sz="1700"/>
            </a:lvl5pPr>
            <a:lvl6pPr>
              <a:defRPr sz="1700"/>
            </a:lvl6pPr>
            <a:lvl7pPr>
              <a:defRPr sz="1700"/>
            </a:lvl7pPr>
            <a:lvl8pPr>
              <a:defRPr sz="1700"/>
            </a:lvl8pPr>
            <a:lvl9pPr>
              <a:defRPr sz="1700"/>
            </a:lvl9pPr>
          </a:lstStyle>
          <a:p>
            <a:pPr lvl="0"/>
            <a:r>
              <a:rPr lang="nb-NO" smtClean="0"/>
              <a:t>Klikk for å redigere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  <a:p>
            <a:pPr lvl="3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nb-NO"/>
          </a:p>
        </p:txBody>
      </p:sp>
      <p:sp>
        <p:nvSpPr>
          <p:cNvPr id="4" name="Plassholder for tekst 3"/>
          <p:cNvSpPr>
            <a:spLocks noGrp="1"/>
          </p:cNvSpPr>
          <p:nvPr>
            <p:ph type="body" sz="half" idx="2"/>
          </p:nvPr>
        </p:nvSpPr>
        <p:spPr>
          <a:xfrm>
            <a:off x="630115" y="1543051"/>
            <a:ext cx="2948354" cy="2858691"/>
          </a:xfrm>
        </p:spPr>
        <p:txBody>
          <a:bodyPr/>
          <a:lstStyle>
            <a:lvl1pPr marL="0" indent="0">
              <a:buNone/>
              <a:defRPr sz="1400"/>
            </a:lvl1pPr>
            <a:lvl2pPr marL="389582" indent="0">
              <a:buNone/>
              <a:defRPr sz="1200"/>
            </a:lvl2pPr>
            <a:lvl3pPr marL="779163" indent="0">
              <a:buNone/>
              <a:defRPr sz="1000"/>
            </a:lvl3pPr>
            <a:lvl4pPr marL="1168745" indent="0">
              <a:buNone/>
              <a:defRPr sz="900"/>
            </a:lvl4pPr>
            <a:lvl5pPr marL="1558326" indent="0">
              <a:buNone/>
              <a:defRPr sz="900"/>
            </a:lvl5pPr>
            <a:lvl6pPr marL="1947908" indent="0">
              <a:buNone/>
              <a:defRPr sz="900"/>
            </a:lvl6pPr>
            <a:lvl7pPr marL="2337489" indent="0">
              <a:buNone/>
              <a:defRPr sz="900"/>
            </a:lvl7pPr>
            <a:lvl8pPr marL="2727071" indent="0">
              <a:buNone/>
              <a:defRPr sz="900"/>
            </a:lvl8pPr>
            <a:lvl9pPr marL="3116652" indent="0">
              <a:buNone/>
              <a:defRPr sz="900"/>
            </a:lvl9pPr>
          </a:lstStyle>
          <a:p>
            <a:pPr lvl="0"/>
            <a:r>
              <a:rPr lang="nb-NO" smtClean="0"/>
              <a:t>Klikk for å redigere tekststiler i malen</a:t>
            </a:r>
          </a:p>
        </p:txBody>
      </p:sp>
      <p:sp>
        <p:nvSpPr>
          <p:cNvPr id="5" name="Plassholder for dato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buClr>
                <a:srgbClr val="44546A"/>
              </a:buClr>
            </a:pPr>
            <a:fld id="{57CDDEFD-23F0-42EB-B054-95271AF0C6FD}" type="datetimeFigureOut">
              <a:rPr lang="nb-NO" smtClean="0">
                <a:solidFill>
                  <a:prstClr val="black">
                    <a:tint val="75000"/>
                  </a:prstClr>
                </a:solidFill>
              </a:rPr>
              <a:pPr>
                <a:buClr>
                  <a:srgbClr val="44546A"/>
                </a:buClr>
              </a:pPr>
              <a:t>13.09.2015</a:t>
            </a:fld>
            <a:endParaRPr lang="nb-N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buClr>
                <a:srgbClr val="44546A"/>
              </a:buClr>
            </a:pPr>
            <a:endParaRPr lang="nb-N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buClr>
                <a:srgbClr val="44546A"/>
              </a:buClr>
            </a:pPr>
            <a:fld id="{1C4D0B95-3711-4744-9B0D-35971583D887}" type="slidenum">
              <a:rPr lang="nb-NO" smtClean="0">
                <a:solidFill>
                  <a:prstClr val="black">
                    <a:tint val="75000"/>
                  </a:prstClr>
                </a:solidFill>
              </a:rPr>
              <a:pPr>
                <a:buClr>
                  <a:srgbClr val="44546A"/>
                </a:buClr>
              </a:pPr>
              <a:t>‹#›</a:t>
            </a:fld>
            <a:endParaRPr lang="nb-NO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15299820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e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630115" y="342900"/>
            <a:ext cx="2948354" cy="1200150"/>
          </a:xfrm>
        </p:spPr>
        <p:txBody>
          <a:bodyPr anchor="b"/>
          <a:lstStyle>
            <a:lvl1pPr>
              <a:defRPr sz="2700"/>
            </a:lvl1pPr>
          </a:lstStyle>
          <a:p>
            <a:r>
              <a:rPr lang="nb-NO" smtClean="0"/>
              <a:t>Klikk for å redigere tittelstil</a:t>
            </a:r>
            <a:endParaRPr lang="nb-NO"/>
          </a:p>
        </p:txBody>
      </p:sp>
      <p:sp>
        <p:nvSpPr>
          <p:cNvPr id="3" name="Plassholder for bilde 2"/>
          <p:cNvSpPr>
            <a:spLocks noGrp="1"/>
          </p:cNvSpPr>
          <p:nvPr>
            <p:ph type="pic" idx="1"/>
          </p:nvPr>
        </p:nvSpPr>
        <p:spPr>
          <a:xfrm>
            <a:off x="3887667" y="740570"/>
            <a:ext cx="4629150" cy="3655219"/>
          </a:xfrm>
        </p:spPr>
        <p:txBody>
          <a:bodyPr/>
          <a:lstStyle>
            <a:lvl1pPr marL="0" indent="0">
              <a:buNone/>
              <a:defRPr sz="2700"/>
            </a:lvl1pPr>
            <a:lvl2pPr marL="389582" indent="0">
              <a:buNone/>
              <a:defRPr sz="2400"/>
            </a:lvl2pPr>
            <a:lvl3pPr marL="779163" indent="0">
              <a:buNone/>
              <a:defRPr sz="2000"/>
            </a:lvl3pPr>
            <a:lvl4pPr marL="1168745" indent="0">
              <a:buNone/>
              <a:defRPr sz="1700"/>
            </a:lvl4pPr>
            <a:lvl5pPr marL="1558326" indent="0">
              <a:buNone/>
              <a:defRPr sz="1700"/>
            </a:lvl5pPr>
            <a:lvl6pPr marL="1947908" indent="0">
              <a:buNone/>
              <a:defRPr sz="1700"/>
            </a:lvl6pPr>
            <a:lvl7pPr marL="2337489" indent="0">
              <a:buNone/>
              <a:defRPr sz="1700"/>
            </a:lvl7pPr>
            <a:lvl8pPr marL="2727071" indent="0">
              <a:buNone/>
              <a:defRPr sz="1700"/>
            </a:lvl8pPr>
            <a:lvl9pPr marL="3116652" indent="0">
              <a:buNone/>
              <a:defRPr sz="1700"/>
            </a:lvl9pPr>
          </a:lstStyle>
          <a:p>
            <a:endParaRPr lang="nb-NO"/>
          </a:p>
        </p:txBody>
      </p:sp>
      <p:sp>
        <p:nvSpPr>
          <p:cNvPr id="4" name="Plassholder for tekst 3"/>
          <p:cNvSpPr>
            <a:spLocks noGrp="1"/>
          </p:cNvSpPr>
          <p:nvPr>
            <p:ph type="body" sz="half" idx="2"/>
          </p:nvPr>
        </p:nvSpPr>
        <p:spPr>
          <a:xfrm>
            <a:off x="630115" y="1543051"/>
            <a:ext cx="2948354" cy="2858691"/>
          </a:xfrm>
        </p:spPr>
        <p:txBody>
          <a:bodyPr/>
          <a:lstStyle>
            <a:lvl1pPr marL="0" indent="0">
              <a:buNone/>
              <a:defRPr sz="1400"/>
            </a:lvl1pPr>
            <a:lvl2pPr marL="389582" indent="0">
              <a:buNone/>
              <a:defRPr sz="1200"/>
            </a:lvl2pPr>
            <a:lvl3pPr marL="779163" indent="0">
              <a:buNone/>
              <a:defRPr sz="1000"/>
            </a:lvl3pPr>
            <a:lvl4pPr marL="1168745" indent="0">
              <a:buNone/>
              <a:defRPr sz="900"/>
            </a:lvl4pPr>
            <a:lvl5pPr marL="1558326" indent="0">
              <a:buNone/>
              <a:defRPr sz="900"/>
            </a:lvl5pPr>
            <a:lvl6pPr marL="1947908" indent="0">
              <a:buNone/>
              <a:defRPr sz="900"/>
            </a:lvl6pPr>
            <a:lvl7pPr marL="2337489" indent="0">
              <a:buNone/>
              <a:defRPr sz="900"/>
            </a:lvl7pPr>
            <a:lvl8pPr marL="2727071" indent="0">
              <a:buNone/>
              <a:defRPr sz="900"/>
            </a:lvl8pPr>
            <a:lvl9pPr marL="3116652" indent="0">
              <a:buNone/>
              <a:defRPr sz="900"/>
            </a:lvl9pPr>
          </a:lstStyle>
          <a:p>
            <a:pPr lvl="0"/>
            <a:r>
              <a:rPr lang="nb-NO" smtClean="0"/>
              <a:t>Klikk for å redigere tekststiler i malen</a:t>
            </a:r>
          </a:p>
        </p:txBody>
      </p:sp>
      <p:sp>
        <p:nvSpPr>
          <p:cNvPr id="5" name="Plassholder for dato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buClr>
                <a:srgbClr val="44546A"/>
              </a:buClr>
            </a:pPr>
            <a:fld id="{57CDDEFD-23F0-42EB-B054-95271AF0C6FD}" type="datetimeFigureOut">
              <a:rPr lang="nb-NO" smtClean="0">
                <a:solidFill>
                  <a:prstClr val="black">
                    <a:tint val="75000"/>
                  </a:prstClr>
                </a:solidFill>
              </a:rPr>
              <a:pPr>
                <a:buClr>
                  <a:srgbClr val="44546A"/>
                </a:buClr>
              </a:pPr>
              <a:t>13.09.2015</a:t>
            </a:fld>
            <a:endParaRPr lang="nb-N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buClr>
                <a:srgbClr val="44546A"/>
              </a:buClr>
            </a:pPr>
            <a:endParaRPr lang="nb-N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buClr>
                <a:srgbClr val="44546A"/>
              </a:buClr>
            </a:pPr>
            <a:fld id="{1C4D0B95-3711-4744-9B0D-35971583D887}" type="slidenum">
              <a:rPr lang="nb-NO" smtClean="0">
                <a:solidFill>
                  <a:prstClr val="black">
                    <a:tint val="75000"/>
                  </a:prstClr>
                </a:solidFill>
              </a:rPr>
              <a:pPr>
                <a:buClr>
                  <a:srgbClr val="44546A"/>
                </a:buClr>
              </a:pPr>
              <a:t>‹#›</a:t>
            </a:fld>
            <a:endParaRPr lang="nb-NO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25065041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Loddrett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smtClean="0"/>
              <a:t>Klikk for å redigere tittelstil</a:t>
            </a:r>
            <a:endParaRPr lang="nb-NO"/>
          </a:p>
        </p:txBody>
      </p:sp>
      <p:sp>
        <p:nvSpPr>
          <p:cNvPr id="3" name="Plassholder for loddrett tekst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nb-NO" smtClean="0"/>
              <a:t>Klikk for å redigere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  <a:p>
            <a:pPr lvl="3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nb-NO"/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buClr>
                <a:srgbClr val="44546A"/>
              </a:buClr>
            </a:pPr>
            <a:fld id="{57CDDEFD-23F0-42EB-B054-95271AF0C6FD}" type="datetimeFigureOut">
              <a:rPr lang="nb-NO" smtClean="0">
                <a:solidFill>
                  <a:prstClr val="black">
                    <a:tint val="75000"/>
                  </a:prstClr>
                </a:solidFill>
              </a:rPr>
              <a:pPr>
                <a:buClr>
                  <a:srgbClr val="44546A"/>
                </a:buClr>
              </a:pPr>
              <a:t>13.09.2015</a:t>
            </a:fld>
            <a:endParaRPr lang="nb-N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buClr>
                <a:srgbClr val="44546A"/>
              </a:buClr>
            </a:pPr>
            <a:endParaRPr lang="nb-N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buClr>
                <a:srgbClr val="44546A"/>
              </a:buClr>
            </a:pPr>
            <a:fld id="{1C4D0B95-3711-4744-9B0D-35971583D887}" type="slidenum">
              <a:rPr lang="nb-NO" smtClean="0">
                <a:solidFill>
                  <a:prstClr val="black">
                    <a:tint val="75000"/>
                  </a:prstClr>
                </a:solidFill>
              </a:rPr>
              <a:pPr>
                <a:buClr>
                  <a:srgbClr val="44546A"/>
                </a:buClr>
              </a:pPr>
              <a:t>‹#›</a:t>
            </a:fld>
            <a:endParaRPr lang="nb-NO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41417105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Loddrett tittel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oddrett tittel 1"/>
          <p:cNvSpPr>
            <a:spLocks noGrp="1"/>
          </p:cNvSpPr>
          <p:nvPr>
            <p:ph type="title" orient="vert"/>
          </p:nvPr>
        </p:nvSpPr>
        <p:spPr>
          <a:xfrm>
            <a:off x="6544409" y="273845"/>
            <a:ext cx="1970943" cy="4358879"/>
          </a:xfrm>
        </p:spPr>
        <p:txBody>
          <a:bodyPr vert="eaVert"/>
          <a:lstStyle/>
          <a:p>
            <a:r>
              <a:rPr lang="nb-NO" smtClean="0"/>
              <a:t>Klikk for å redigere tittelstil</a:t>
            </a:r>
            <a:endParaRPr lang="nb-NO"/>
          </a:p>
        </p:txBody>
      </p:sp>
      <p:sp>
        <p:nvSpPr>
          <p:cNvPr id="3" name="Plassholder for loddrett tekst 2"/>
          <p:cNvSpPr>
            <a:spLocks noGrp="1"/>
          </p:cNvSpPr>
          <p:nvPr>
            <p:ph type="body" orient="vert" idx="1"/>
          </p:nvPr>
        </p:nvSpPr>
        <p:spPr>
          <a:xfrm>
            <a:off x="628651" y="273845"/>
            <a:ext cx="5775080" cy="4358879"/>
          </a:xfrm>
        </p:spPr>
        <p:txBody>
          <a:bodyPr vert="eaVert"/>
          <a:lstStyle/>
          <a:p>
            <a:pPr lvl="0"/>
            <a:r>
              <a:rPr lang="nb-NO" smtClean="0"/>
              <a:t>Klikk for å redigere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  <a:p>
            <a:pPr lvl="3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nb-NO"/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buClr>
                <a:srgbClr val="44546A"/>
              </a:buClr>
            </a:pPr>
            <a:fld id="{57CDDEFD-23F0-42EB-B054-95271AF0C6FD}" type="datetimeFigureOut">
              <a:rPr lang="nb-NO" smtClean="0">
                <a:solidFill>
                  <a:prstClr val="black">
                    <a:tint val="75000"/>
                  </a:prstClr>
                </a:solidFill>
              </a:rPr>
              <a:pPr>
                <a:buClr>
                  <a:srgbClr val="44546A"/>
                </a:buClr>
              </a:pPr>
              <a:t>13.09.2015</a:t>
            </a:fld>
            <a:endParaRPr lang="nb-N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buClr>
                <a:srgbClr val="44546A"/>
              </a:buClr>
            </a:pPr>
            <a:endParaRPr lang="nb-N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buClr>
                <a:srgbClr val="44546A"/>
              </a:buClr>
            </a:pPr>
            <a:fld id="{1C4D0B95-3711-4744-9B0D-35971583D887}" type="slidenum">
              <a:rPr lang="nb-NO" smtClean="0">
                <a:solidFill>
                  <a:prstClr val="black">
                    <a:tint val="75000"/>
                  </a:prstClr>
                </a:solidFill>
              </a:rPr>
              <a:pPr>
                <a:buClr>
                  <a:srgbClr val="44546A"/>
                </a:buClr>
              </a:pPr>
              <a:t>‹#›</a:t>
            </a:fld>
            <a:endParaRPr lang="nb-NO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38328131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tellys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Bilde 8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9054"/>
          <a:stretch/>
        </p:blipFill>
        <p:spPr>
          <a:xfrm>
            <a:off x="-4984" y="3510644"/>
            <a:ext cx="9144000" cy="1632856"/>
          </a:xfrm>
          <a:prstGeom prst="rect">
            <a:avLst/>
          </a:prstGeom>
          <a:solidFill>
            <a:schemeClr val="accent1"/>
          </a:solidFill>
        </p:spPr>
      </p:pic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685800" y="3547730"/>
            <a:ext cx="7772400" cy="617734"/>
          </a:xfrm>
        </p:spPr>
        <p:txBody>
          <a:bodyPr>
            <a:spAutoFit/>
          </a:bodyPr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nb-NO" smtClean="0"/>
              <a:t>Klikk for å redigere tittelstil</a:t>
            </a:r>
            <a:endParaRPr lang="nb-NO" dirty="0"/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685800" y="4139618"/>
            <a:ext cx="7772400" cy="448457"/>
          </a:xfrm>
        </p:spPr>
        <p:txBody>
          <a:bodyPr wrap="square">
            <a:spAutoFit/>
          </a:bodyPr>
          <a:lstStyle>
            <a:lvl1pPr marL="0" indent="0" algn="l">
              <a:buNone/>
              <a:defRPr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b-NO" smtClean="0"/>
              <a:t>Klikk for å redigere undertittelstil i malen</a:t>
            </a:r>
            <a:endParaRPr lang="nb-NO" dirty="0"/>
          </a:p>
        </p:txBody>
      </p:sp>
      <p:sp>
        <p:nvSpPr>
          <p:cNvPr id="13" name="Plassholder for bilde 2"/>
          <p:cNvSpPr>
            <a:spLocks noGrp="1"/>
          </p:cNvSpPr>
          <p:nvPr>
            <p:ph type="pic" idx="10"/>
          </p:nvPr>
        </p:nvSpPr>
        <p:spPr>
          <a:xfrm>
            <a:off x="0" y="1978"/>
            <a:ext cx="9144000" cy="313181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nb-NO" smtClean="0"/>
              <a:t>Klikk ikonet for å legge til et bilde</a:t>
            </a:r>
            <a:endParaRPr lang="nb-NO" dirty="0"/>
          </a:p>
        </p:txBody>
      </p:sp>
      <p:pic>
        <p:nvPicPr>
          <p:cNvPr id="7" name="Bilde 6"/>
          <p:cNvPicPr>
            <a:picLocks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7805" y="3208559"/>
            <a:ext cx="1682357" cy="228581"/>
          </a:xfrm>
          <a:prstGeom prst="rect">
            <a:avLst/>
          </a:prstGeom>
        </p:spPr>
      </p:pic>
      <p:sp>
        <p:nvSpPr>
          <p:cNvPr id="8" name="Plassholder for tekst 4"/>
          <p:cNvSpPr>
            <a:spLocks noGrp="1"/>
          </p:cNvSpPr>
          <p:nvPr>
            <p:ph type="body" sz="quarter" idx="11" hasCustomPrompt="1"/>
          </p:nvPr>
        </p:nvSpPr>
        <p:spPr>
          <a:xfrm>
            <a:off x="685720" y="4803998"/>
            <a:ext cx="7772479" cy="309958"/>
          </a:xfrm>
        </p:spPr>
        <p:txBody>
          <a:bodyPr wrap="square" anchor="b" anchorCtr="0">
            <a:sp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nb-NO" smtClean="0"/>
              <a:t>Sted, dato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20039454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tellysbilde #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Bilde 8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9054"/>
          <a:stretch/>
        </p:blipFill>
        <p:spPr>
          <a:xfrm>
            <a:off x="-4984" y="3510644"/>
            <a:ext cx="9144000" cy="1632856"/>
          </a:xfrm>
          <a:prstGeom prst="rect">
            <a:avLst/>
          </a:prstGeom>
          <a:solidFill>
            <a:srgbClr val="0093A7"/>
          </a:solidFill>
        </p:spPr>
      </p:pic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685800" y="3547730"/>
            <a:ext cx="7772400" cy="617734"/>
          </a:xfrm>
        </p:spPr>
        <p:txBody>
          <a:bodyPr>
            <a:spAutoFit/>
          </a:bodyPr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nb-NO" smtClean="0"/>
              <a:t>Klikk for å redigere tittelstil</a:t>
            </a:r>
            <a:endParaRPr lang="nb-NO" dirty="0"/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685800" y="4139618"/>
            <a:ext cx="7772400" cy="448457"/>
          </a:xfrm>
        </p:spPr>
        <p:txBody>
          <a:bodyPr wrap="square">
            <a:spAutoFit/>
          </a:bodyPr>
          <a:lstStyle>
            <a:lvl1pPr marL="0" indent="0" algn="l">
              <a:buNone/>
              <a:defRPr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b-NO" smtClean="0"/>
              <a:t>Klikk for å redigere undertittelstil i malen</a:t>
            </a:r>
            <a:endParaRPr lang="nb-NO" dirty="0"/>
          </a:p>
        </p:txBody>
      </p:sp>
      <p:sp>
        <p:nvSpPr>
          <p:cNvPr id="13" name="Plassholder for bilde 2"/>
          <p:cNvSpPr>
            <a:spLocks noGrp="1"/>
          </p:cNvSpPr>
          <p:nvPr>
            <p:ph type="pic" idx="10"/>
          </p:nvPr>
        </p:nvSpPr>
        <p:spPr>
          <a:xfrm>
            <a:off x="0" y="1978"/>
            <a:ext cx="9144000" cy="313181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nb-NO" smtClean="0"/>
              <a:t>Klikk ikonet for å legge til et bilde</a:t>
            </a:r>
            <a:endParaRPr lang="nb-NO" dirty="0"/>
          </a:p>
        </p:txBody>
      </p:sp>
      <p:pic>
        <p:nvPicPr>
          <p:cNvPr id="7" name="Bilde 6"/>
          <p:cNvPicPr>
            <a:picLocks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7805" y="3208559"/>
            <a:ext cx="1682357" cy="228581"/>
          </a:xfrm>
          <a:prstGeom prst="rect">
            <a:avLst/>
          </a:prstGeom>
        </p:spPr>
      </p:pic>
      <p:sp>
        <p:nvSpPr>
          <p:cNvPr id="8" name="Plassholder for tekst 4"/>
          <p:cNvSpPr>
            <a:spLocks noGrp="1"/>
          </p:cNvSpPr>
          <p:nvPr>
            <p:ph type="body" sz="quarter" idx="11" hasCustomPrompt="1"/>
          </p:nvPr>
        </p:nvSpPr>
        <p:spPr>
          <a:xfrm>
            <a:off x="685720" y="4803998"/>
            <a:ext cx="7772479" cy="309958"/>
          </a:xfrm>
        </p:spPr>
        <p:txBody>
          <a:bodyPr wrap="square" anchor="b" anchorCtr="0">
            <a:sp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nb-NO" smtClean="0"/>
              <a:t>Sted, dato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638451468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tellysbilde #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Bilde 8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9054"/>
          <a:stretch/>
        </p:blipFill>
        <p:spPr>
          <a:xfrm>
            <a:off x="-4984" y="3510644"/>
            <a:ext cx="9144000" cy="1632856"/>
          </a:xfrm>
          <a:prstGeom prst="rect">
            <a:avLst/>
          </a:prstGeom>
          <a:solidFill>
            <a:schemeClr val="accent2"/>
          </a:solidFill>
        </p:spPr>
      </p:pic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685800" y="3547730"/>
            <a:ext cx="7772400" cy="617734"/>
          </a:xfrm>
        </p:spPr>
        <p:txBody>
          <a:bodyPr>
            <a:spAutoFit/>
          </a:bodyPr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nb-NO" smtClean="0"/>
              <a:t>Klikk for å redigere tittelstil</a:t>
            </a:r>
            <a:endParaRPr lang="nb-NO" dirty="0"/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685800" y="4139618"/>
            <a:ext cx="7772400" cy="448457"/>
          </a:xfrm>
        </p:spPr>
        <p:txBody>
          <a:bodyPr wrap="square">
            <a:spAutoFit/>
          </a:bodyPr>
          <a:lstStyle>
            <a:lvl1pPr marL="0" indent="0" algn="l">
              <a:buNone/>
              <a:defRPr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b-NO" smtClean="0"/>
              <a:t>Klikk for å redigere undertittelstil i malen</a:t>
            </a:r>
            <a:endParaRPr lang="nb-NO" dirty="0"/>
          </a:p>
        </p:txBody>
      </p:sp>
      <p:sp>
        <p:nvSpPr>
          <p:cNvPr id="13" name="Plassholder for bilde 2"/>
          <p:cNvSpPr>
            <a:spLocks noGrp="1"/>
          </p:cNvSpPr>
          <p:nvPr>
            <p:ph type="pic" idx="10"/>
          </p:nvPr>
        </p:nvSpPr>
        <p:spPr>
          <a:xfrm>
            <a:off x="0" y="1978"/>
            <a:ext cx="9144000" cy="313181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nb-NO" smtClean="0"/>
              <a:t>Klikk ikonet for å legge til et bilde</a:t>
            </a:r>
            <a:endParaRPr lang="nb-NO" dirty="0"/>
          </a:p>
        </p:txBody>
      </p:sp>
      <p:pic>
        <p:nvPicPr>
          <p:cNvPr id="7" name="Bilde 6"/>
          <p:cNvPicPr>
            <a:picLocks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7805" y="3208559"/>
            <a:ext cx="1682357" cy="228581"/>
          </a:xfrm>
          <a:prstGeom prst="rect">
            <a:avLst/>
          </a:prstGeom>
        </p:spPr>
      </p:pic>
      <p:sp>
        <p:nvSpPr>
          <p:cNvPr id="8" name="Plassholder for tekst 4"/>
          <p:cNvSpPr>
            <a:spLocks noGrp="1"/>
          </p:cNvSpPr>
          <p:nvPr>
            <p:ph type="body" sz="quarter" idx="11" hasCustomPrompt="1"/>
          </p:nvPr>
        </p:nvSpPr>
        <p:spPr>
          <a:xfrm>
            <a:off x="685720" y="4803998"/>
            <a:ext cx="7772479" cy="309958"/>
          </a:xfrm>
        </p:spPr>
        <p:txBody>
          <a:bodyPr wrap="square" anchor="b" anchorCtr="0">
            <a:sp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nb-NO" smtClean="0"/>
              <a:t>Sted, dato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4142400515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tellysbilde #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Bilde 8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9054"/>
          <a:stretch/>
        </p:blipFill>
        <p:spPr>
          <a:xfrm>
            <a:off x="-4984" y="3510644"/>
            <a:ext cx="9144000" cy="1632856"/>
          </a:xfrm>
          <a:prstGeom prst="rect">
            <a:avLst/>
          </a:prstGeom>
          <a:solidFill>
            <a:schemeClr val="accent6"/>
          </a:solidFill>
        </p:spPr>
      </p:pic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685800" y="3547730"/>
            <a:ext cx="7772400" cy="617734"/>
          </a:xfrm>
        </p:spPr>
        <p:txBody>
          <a:bodyPr>
            <a:spAutoFit/>
          </a:bodyPr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nb-NO" smtClean="0"/>
              <a:t>Klikk for å redigere tittelstil</a:t>
            </a:r>
            <a:endParaRPr lang="nb-NO" dirty="0"/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685800" y="4139618"/>
            <a:ext cx="7772400" cy="448457"/>
          </a:xfrm>
        </p:spPr>
        <p:txBody>
          <a:bodyPr wrap="square">
            <a:spAutoFit/>
          </a:bodyPr>
          <a:lstStyle>
            <a:lvl1pPr marL="0" indent="0" algn="l">
              <a:buNone/>
              <a:defRPr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b-NO" smtClean="0"/>
              <a:t>Klikk for å redigere undertittelstil i malen</a:t>
            </a:r>
            <a:endParaRPr lang="nb-NO" dirty="0"/>
          </a:p>
        </p:txBody>
      </p:sp>
      <p:sp>
        <p:nvSpPr>
          <p:cNvPr id="13" name="Plassholder for bilde 2"/>
          <p:cNvSpPr>
            <a:spLocks noGrp="1"/>
          </p:cNvSpPr>
          <p:nvPr>
            <p:ph type="pic" idx="10"/>
          </p:nvPr>
        </p:nvSpPr>
        <p:spPr>
          <a:xfrm>
            <a:off x="0" y="1978"/>
            <a:ext cx="9144000" cy="313181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nb-NO" smtClean="0"/>
              <a:t>Klikk ikonet for å legge til et bilde</a:t>
            </a:r>
            <a:endParaRPr lang="nb-NO" dirty="0"/>
          </a:p>
        </p:txBody>
      </p:sp>
      <p:pic>
        <p:nvPicPr>
          <p:cNvPr id="7" name="Bilde 6"/>
          <p:cNvPicPr>
            <a:picLocks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7805" y="3208559"/>
            <a:ext cx="1682357" cy="228581"/>
          </a:xfrm>
          <a:prstGeom prst="rect">
            <a:avLst/>
          </a:prstGeom>
        </p:spPr>
      </p:pic>
      <p:sp>
        <p:nvSpPr>
          <p:cNvPr id="8" name="Plassholder for tekst 4"/>
          <p:cNvSpPr>
            <a:spLocks noGrp="1"/>
          </p:cNvSpPr>
          <p:nvPr>
            <p:ph type="body" sz="quarter" idx="11" hasCustomPrompt="1"/>
          </p:nvPr>
        </p:nvSpPr>
        <p:spPr>
          <a:xfrm>
            <a:off x="685720" y="4803998"/>
            <a:ext cx="7772479" cy="309958"/>
          </a:xfrm>
        </p:spPr>
        <p:txBody>
          <a:bodyPr wrap="square" anchor="b" anchorCtr="0">
            <a:sp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nb-NO" smtClean="0"/>
              <a:t>Sted, dato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41272834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elforside #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Bilde 12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5000"/>
          <a:stretch/>
        </p:blipFill>
        <p:spPr>
          <a:xfrm>
            <a:off x="1" y="1"/>
            <a:ext cx="9143245" cy="4708772"/>
          </a:xfrm>
          <a:prstGeom prst="rect">
            <a:avLst/>
          </a:prstGeom>
          <a:solidFill>
            <a:srgbClr val="0093A7"/>
          </a:solidFill>
        </p:spPr>
      </p:pic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685800" y="1608315"/>
            <a:ext cx="7772400" cy="402279"/>
          </a:xfrm>
        </p:spPr>
        <p:txBody>
          <a:bodyPr>
            <a:spAutoFit/>
          </a:bodyPr>
          <a:lstStyle>
            <a:lvl1pPr algn="l">
              <a:defRPr b="1">
                <a:solidFill>
                  <a:schemeClr val="bg1"/>
                </a:solidFill>
              </a:defRPr>
            </a:lvl1pPr>
          </a:lstStyle>
          <a:p>
            <a:r>
              <a:rPr lang="nb-NO" smtClean="0"/>
              <a:t>Klikk for å redigere tittelstil</a:t>
            </a:r>
            <a:endParaRPr lang="nb-NO" dirty="0"/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685800" y="1990829"/>
            <a:ext cx="7772400" cy="279168"/>
          </a:xfrm>
        </p:spPr>
        <p:txBody>
          <a:bodyPr wrap="square">
            <a:spAutoFit/>
          </a:bodyPr>
          <a:lstStyle>
            <a:lvl1pPr marL="0" indent="0" algn="l">
              <a:buNone/>
              <a:defRPr>
                <a:solidFill>
                  <a:schemeClr val="bg1"/>
                </a:solidFill>
              </a:defRPr>
            </a:lvl1pPr>
            <a:lvl2pPr marL="4571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29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5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7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8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03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1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b-NO" smtClean="0"/>
              <a:t>Klikk for å redigere undertittelstil i malen</a:t>
            </a:r>
            <a:endParaRPr lang="nb-NO" dirty="0"/>
          </a:p>
        </p:txBody>
      </p:sp>
      <p:sp>
        <p:nvSpPr>
          <p:cNvPr id="9" name="Plassholder for dato 3"/>
          <p:cNvSpPr>
            <a:spLocks noGrp="1"/>
          </p:cNvSpPr>
          <p:nvPr>
            <p:ph type="dt" sz="half" idx="10"/>
          </p:nvPr>
        </p:nvSpPr>
        <p:spPr>
          <a:xfrm>
            <a:off x="6732240" y="4993004"/>
            <a:ext cx="1080120" cy="108011"/>
          </a:xfrm>
          <a:prstGeom prst="rect">
            <a:avLst/>
          </a:prstGeom>
        </p:spPr>
        <p:txBody>
          <a:bodyPr anchor="ctr" anchorCtr="0"/>
          <a:lstStyle>
            <a:lvl1pPr>
              <a:defRPr sz="800">
                <a:solidFill>
                  <a:srgbClr val="003244"/>
                </a:solidFill>
              </a:defRPr>
            </a:lvl1pPr>
          </a:lstStyle>
          <a:p>
            <a:fld id="{C9BE08A9-3611-4824-B92E-FC5F097DA855}" type="datetime1">
              <a:rPr lang="nb-NO" smtClean="0"/>
              <a:t>13.09.2015</a:t>
            </a:fld>
            <a:endParaRPr lang="nb-NO" dirty="0"/>
          </a:p>
        </p:txBody>
      </p:sp>
      <p:sp>
        <p:nvSpPr>
          <p:cNvPr id="10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6732240" y="4776980"/>
            <a:ext cx="2160240" cy="162017"/>
          </a:xfrm>
          <a:prstGeom prst="rect">
            <a:avLst/>
          </a:prstGeom>
        </p:spPr>
        <p:txBody>
          <a:bodyPr anchor="ctr" anchorCtr="0"/>
          <a:lstStyle>
            <a:lvl1pPr algn="l">
              <a:defRPr sz="1000" b="1">
                <a:solidFill>
                  <a:srgbClr val="039BAF"/>
                </a:solidFill>
              </a:defRPr>
            </a:lvl1pPr>
          </a:lstStyle>
          <a:p>
            <a:r>
              <a:rPr lang="nb-NO" smtClean="0"/>
              <a:t>IKT utfordringsbilde</a:t>
            </a:r>
            <a:endParaRPr lang="nb-NO" dirty="0"/>
          </a:p>
        </p:txBody>
      </p:sp>
      <p:sp>
        <p:nvSpPr>
          <p:cNvPr id="11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7884368" y="4993004"/>
            <a:ext cx="648072" cy="108011"/>
          </a:xfrm>
          <a:prstGeom prst="rect">
            <a:avLst/>
          </a:prstGeom>
        </p:spPr>
        <p:txBody>
          <a:bodyPr anchor="ctr" anchorCtr="0"/>
          <a:lstStyle>
            <a:lvl1pPr>
              <a:defRPr sz="800">
                <a:solidFill>
                  <a:srgbClr val="003244"/>
                </a:solidFill>
              </a:defRPr>
            </a:lvl1pPr>
          </a:lstStyle>
          <a:p>
            <a:fld id="{CDA22134-EA94-4B2E-9154-EB8F13265450}" type="slidenum">
              <a:rPr lang="nb-NO" smtClean="0"/>
              <a:pPr/>
              <a:t>‹#›</a:t>
            </a:fld>
            <a:endParaRPr lang="nb-NO" dirty="0"/>
          </a:p>
        </p:txBody>
      </p:sp>
      <p:pic>
        <p:nvPicPr>
          <p:cNvPr id="12" name="Bilde 11"/>
          <p:cNvPicPr>
            <a:picLocks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6239" y="4894009"/>
            <a:ext cx="1076709" cy="1467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9789115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tellysbilde #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Bilde 8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9054"/>
          <a:stretch/>
        </p:blipFill>
        <p:spPr>
          <a:xfrm>
            <a:off x="-4984" y="3510644"/>
            <a:ext cx="9144000" cy="1632856"/>
          </a:xfrm>
          <a:prstGeom prst="rect">
            <a:avLst/>
          </a:prstGeom>
          <a:solidFill>
            <a:srgbClr val="76428D"/>
          </a:solidFill>
        </p:spPr>
      </p:pic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685800" y="3547730"/>
            <a:ext cx="7772400" cy="617734"/>
          </a:xfrm>
        </p:spPr>
        <p:txBody>
          <a:bodyPr>
            <a:spAutoFit/>
          </a:bodyPr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nb-NO" smtClean="0"/>
              <a:t>Klikk for å redigere tittelstil</a:t>
            </a:r>
            <a:endParaRPr lang="nb-NO" dirty="0"/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685800" y="4139618"/>
            <a:ext cx="7772400" cy="448457"/>
          </a:xfrm>
        </p:spPr>
        <p:txBody>
          <a:bodyPr wrap="square">
            <a:spAutoFit/>
          </a:bodyPr>
          <a:lstStyle>
            <a:lvl1pPr marL="0" indent="0" algn="l">
              <a:buNone/>
              <a:defRPr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b-NO" smtClean="0"/>
              <a:t>Klikk for å redigere undertittelstil i malen</a:t>
            </a:r>
            <a:endParaRPr lang="nb-NO" dirty="0"/>
          </a:p>
        </p:txBody>
      </p:sp>
      <p:sp>
        <p:nvSpPr>
          <p:cNvPr id="13" name="Plassholder for bilde 2"/>
          <p:cNvSpPr>
            <a:spLocks noGrp="1"/>
          </p:cNvSpPr>
          <p:nvPr>
            <p:ph type="pic" idx="10"/>
          </p:nvPr>
        </p:nvSpPr>
        <p:spPr>
          <a:xfrm>
            <a:off x="0" y="1978"/>
            <a:ext cx="9144000" cy="313181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nb-NO" smtClean="0"/>
              <a:t>Klikk ikonet for å legge til et bilde</a:t>
            </a:r>
            <a:endParaRPr lang="nb-NO" dirty="0"/>
          </a:p>
        </p:txBody>
      </p:sp>
      <p:pic>
        <p:nvPicPr>
          <p:cNvPr id="7" name="Bilde 6"/>
          <p:cNvPicPr>
            <a:picLocks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7805" y="3208559"/>
            <a:ext cx="1682357" cy="228581"/>
          </a:xfrm>
          <a:prstGeom prst="rect">
            <a:avLst/>
          </a:prstGeom>
        </p:spPr>
      </p:pic>
      <p:sp>
        <p:nvSpPr>
          <p:cNvPr id="8" name="Plassholder for tekst 4"/>
          <p:cNvSpPr>
            <a:spLocks noGrp="1"/>
          </p:cNvSpPr>
          <p:nvPr>
            <p:ph type="body" sz="quarter" idx="11" hasCustomPrompt="1"/>
          </p:nvPr>
        </p:nvSpPr>
        <p:spPr>
          <a:xfrm>
            <a:off x="685720" y="4803998"/>
            <a:ext cx="7772479" cy="309958"/>
          </a:xfrm>
        </p:spPr>
        <p:txBody>
          <a:bodyPr wrap="square" anchor="b" anchorCtr="0">
            <a:sp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nb-NO" smtClean="0"/>
              <a:t>Sted, dato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4128790141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 Tittellysbilde #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Bilde 7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9054"/>
          <a:stretch/>
        </p:blipFill>
        <p:spPr>
          <a:xfrm>
            <a:off x="-4984" y="3510644"/>
            <a:ext cx="9144000" cy="1632856"/>
          </a:xfrm>
          <a:prstGeom prst="rect">
            <a:avLst/>
          </a:prstGeom>
          <a:solidFill>
            <a:schemeClr val="accent4"/>
          </a:solidFill>
        </p:spPr>
      </p:pic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685800" y="3547730"/>
            <a:ext cx="7772400" cy="617734"/>
          </a:xfrm>
        </p:spPr>
        <p:txBody>
          <a:bodyPr>
            <a:spAutoFit/>
          </a:bodyPr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nb-NO" smtClean="0"/>
              <a:t>Klikk for å redigere tittelstil</a:t>
            </a:r>
            <a:endParaRPr lang="nb-NO" dirty="0"/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685800" y="4139618"/>
            <a:ext cx="7772400" cy="448457"/>
          </a:xfrm>
        </p:spPr>
        <p:txBody>
          <a:bodyPr wrap="square">
            <a:spAutoFit/>
          </a:bodyPr>
          <a:lstStyle>
            <a:lvl1pPr marL="0" indent="0" algn="l">
              <a:buNone/>
              <a:defRPr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b-NO" smtClean="0"/>
              <a:t>Klikk for å redigere undertittelstil i malen</a:t>
            </a:r>
            <a:endParaRPr lang="nb-NO" dirty="0"/>
          </a:p>
        </p:txBody>
      </p:sp>
      <p:pic>
        <p:nvPicPr>
          <p:cNvPr id="11" name="Bilde 10"/>
          <p:cNvPicPr>
            <a:picLocks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7805" y="3208559"/>
            <a:ext cx="1682357" cy="228581"/>
          </a:xfrm>
          <a:prstGeom prst="rect">
            <a:avLst/>
          </a:prstGeom>
        </p:spPr>
      </p:pic>
      <p:sp>
        <p:nvSpPr>
          <p:cNvPr id="13" name="Plassholder for bilde 2"/>
          <p:cNvSpPr>
            <a:spLocks noGrp="1"/>
          </p:cNvSpPr>
          <p:nvPr>
            <p:ph type="pic" idx="10"/>
          </p:nvPr>
        </p:nvSpPr>
        <p:spPr>
          <a:xfrm>
            <a:off x="0" y="1978"/>
            <a:ext cx="9144000" cy="313181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nb-NO" smtClean="0"/>
              <a:t>Klikk ikonet for å legge til et bilde</a:t>
            </a:r>
            <a:endParaRPr lang="nb-NO" dirty="0"/>
          </a:p>
        </p:txBody>
      </p:sp>
      <p:sp>
        <p:nvSpPr>
          <p:cNvPr id="7" name="Plassholder for tekst 4"/>
          <p:cNvSpPr>
            <a:spLocks noGrp="1"/>
          </p:cNvSpPr>
          <p:nvPr>
            <p:ph type="body" sz="quarter" idx="11" hasCustomPrompt="1"/>
          </p:nvPr>
        </p:nvSpPr>
        <p:spPr>
          <a:xfrm>
            <a:off x="685720" y="4803998"/>
            <a:ext cx="7772479" cy="309958"/>
          </a:xfrm>
        </p:spPr>
        <p:txBody>
          <a:bodyPr wrap="square" anchor="b" anchorCtr="0">
            <a:sp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nb-NO" smtClean="0"/>
              <a:t>Sted, dato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191710952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elfor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Bilde 10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5000"/>
          <a:stretch/>
        </p:blipFill>
        <p:spPr>
          <a:xfrm>
            <a:off x="0" y="0"/>
            <a:ext cx="9143245" cy="4708772"/>
          </a:xfrm>
          <a:prstGeom prst="rect">
            <a:avLst/>
          </a:prstGeom>
          <a:solidFill>
            <a:schemeClr val="accent1"/>
          </a:solidFill>
        </p:spPr>
      </p:pic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685800" y="1392860"/>
            <a:ext cx="7772400" cy="617734"/>
          </a:xfrm>
        </p:spPr>
        <p:txBody>
          <a:bodyPr>
            <a:spAutoFit/>
          </a:bodyPr>
          <a:lstStyle>
            <a:lvl1pPr algn="l">
              <a:defRPr b="1">
                <a:solidFill>
                  <a:schemeClr val="bg1"/>
                </a:solidFill>
              </a:defRPr>
            </a:lvl1pPr>
          </a:lstStyle>
          <a:p>
            <a:r>
              <a:rPr lang="nb-NO" smtClean="0"/>
              <a:t>Klikk for å redigere tittelstil</a:t>
            </a:r>
            <a:endParaRPr lang="nb-NO" dirty="0"/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685800" y="1990829"/>
            <a:ext cx="7772400" cy="448457"/>
          </a:xfrm>
        </p:spPr>
        <p:txBody>
          <a:bodyPr wrap="square">
            <a:spAutoFit/>
          </a:bodyPr>
          <a:lstStyle>
            <a:lvl1pPr marL="0" indent="0" algn="l">
              <a:buNone/>
              <a:defRPr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b-NO" smtClean="0"/>
              <a:t>Klikk for å redigere undertittelstil i malen</a:t>
            </a:r>
            <a:endParaRPr lang="nb-NO" dirty="0"/>
          </a:p>
        </p:txBody>
      </p:sp>
      <p:sp>
        <p:nvSpPr>
          <p:cNvPr id="10" name="Plassholder for dato 3"/>
          <p:cNvSpPr>
            <a:spLocks noGrp="1"/>
          </p:cNvSpPr>
          <p:nvPr>
            <p:ph type="dt" sz="half" idx="10"/>
          </p:nvPr>
        </p:nvSpPr>
        <p:spPr>
          <a:xfrm>
            <a:off x="6732240" y="4993003"/>
            <a:ext cx="1080120" cy="108011"/>
          </a:xfrm>
          <a:prstGeom prst="rect">
            <a:avLst/>
          </a:prstGeom>
        </p:spPr>
        <p:txBody>
          <a:bodyPr anchor="ctr" anchorCtr="0"/>
          <a:lstStyle>
            <a:lvl1pPr>
              <a:defRPr sz="800">
                <a:solidFill>
                  <a:srgbClr val="003244"/>
                </a:solidFill>
              </a:defRPr>
            </a:lvl1pPr>
          </a:lstStyle>
          <a:p>
            <a:r>
              <a:rPr lang="nb-NO" smtClean="0"/>
              <a:t>08.06.2015</a:t>
            </a:r>
            <a:endParaRPr lang="nb-NO" dirty="0"/>
          </a:p>
        </p:txBody>
      </p:sp>
      <p:sp>
        <p:nvSpPr>
          <p:cNvPr id="14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6732240" y="4776979"/>
            <a:ext cx="2160240" cy="162017"/>
          </a:xfrm>
          <a:prstGeom prst="rect">
            <a:avLst/>
          </a:prstGeom>
        </p:spPr>
        <p:txBody>
          <a:bodyPr anchor="ctr" anchorCtr="0"/>
          <a:lstStyle>
            <a:lvl1pPr algn="l">
              <a:defRPr sz="1000" b="1">
                <a:solidFill>
                  <a:srgbClr val="039BAF"/>
                </a:solidFill>
              </a:defRPr>
            </a:lvl1pPr>
          </a:lstStyle>
          <a:p>
            <a:r>
              <a:rPr lang="nb-NO" smtClean="0"/>
              <a:t>KMD</a:t>
            </a:r>
            <a:endParaRPr lang="nb-NO" dirty="0"/>
          </a:p>
        </p:txBody>
      </p:sp>
      <p:sp>
        <p:nvSpPr>
          <p:cNvPr id="15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7884368" y="4993003"/>
            <a:ext cx="648072" cy="108011"/>
          </a:xfrm>
          <a:prstGeom prst="rect">
            <a:avLst/>
          </a:prstGeom>
        </p:spPr>
        <p:txBody>
          <a:bodyPr anchor="ctr" anchorCtr="0"/>
          <a:lstStyle>
            <a:lvl1pPr>
              <a:defRPr sz="800">
                <a:solidFill>
                  <a:srgbClr val="003244"/>
                </a:solidFill>
              </a:defRPr>
            </a:lvl1pPr>
          </a:lstStyle>
          <a:p>
            <a:fld id="{CDA22134-EA94-4B2E-9154-EB8F13265450}" type="slidenum">
              <a:rPr lang="nb-NO" smtClean="0"/>
              <a:pPr/>
              <a:t>‹#›</a:t>
            </a:fld>
            <a:endParaRPr lang="nb-NO" dirty="0"/>
          </a:p>
        </p:txBody>
      </p:sp>
      <p:pic>
        <p:nvPicPr>
          <p:cNvPr id="9" name="Bilde 8"/>
          <p:cNvPicPr>
            <a:picLocks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6238" y="4894009"/>
            <a:ext cx="1076709" cy="1467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4348299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elforside #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Bilde 10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5000"/>
          <a:stretch/>
        </p:blipFill>
        <p:spPr>
          <a:xfrm>
            <a:off x="0" y="0"/>
            <a:ext cx="9143245" cy="4708772"/>
          </a:xfrm>
          <a:prstGeom prst="rect">
            <a:avLst/>
          </a:prstGeom>
          <a:solidFill>
            <a:schemeClr val="accent2"/>
          </a:solidFill>
        </p:spPr>
      </p:pic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685800" y="1392860"/>
            <a:ext cx="7772400" cy="617734"/>
          </a:xfrm>
        </p:spPr>
        <p:txBody>
          <a:bodyPr>
            <a:spAutoFit/>
          </a:bodyPr>
          <a:lstStyle>
            <a:lvl1pPr algn="l">
              <a:defRPr b="1">
                <a:solidFill>
                  <a:schemeClr val="bg1"/>
                </a:solidFill>
              </a:defRPr>
            </a:lvl1pPr>
          </a:lstStyle>
          <a:p>
            <a:r>
              <a:rPr lang="nb-NO" smtClean="0"/>
              <a:t>Klikk for å redigere tittelstil</a:t>
            </a:r>
            <a:endParaRPr lang="nb-NO" dirty="0"/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685800" y="1990829"/>
            <a:ext cx="7772400" cy="448457"/>
          </a:xfrm>
        </p:spPr>
        <p:txBody>
          <a:bodyPr wrap="square">
            <a:spAutoFit/>
          </a:bodyPr>
          <a:lstStyle>
            <a:lvl1pPr marL="0" indent="0" algn="l">
              <a:buNone/>
              <a:defRPr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b-NO" smtClean="0"/>
              <a:t>Klikk for å redigere undertittelstil i malen</a:t>
            </a:r>
            <a:endParaRPr lang="nb-NO" dirty="0"/>
          </a:p>
        </p:txBody>
      </p:sp>
      <p:sp>
        <p:nvSpPr>
          <p:cNvPr id="6" name="Plassholder for dato 3"/>
          <p:cNvSpPr>
            <a:spLocks noGrp="1"/>
          </p:cNvSpPr>
          <p:nvPr>
            <p:ph type="dt" sz="half" idx="10"/>
          </p:nvPr>
        </p:nvSpPr>
        <p:spPr>
          <a:xfrm>
            <a:off x="6732240" y="4993003"/>
            <a:ext cx="1080120" cy="108011"/>
          </a:xfrm>
          <a:prstGeom prst="rect">
            <a:avLst/>
          </a:prstGeom>
        </p:spPr>
        <p:txBody>
          <a:bodyPr anchor="ctr" anchorCtr="0"/>
          <a:lstStyle>
            <a:lvl1pPr>
              <a:defRPr sz="800">
                <a:solidFill>
                  <a:srgbClr val="003244"/>
                </a:solidFill>
              </a:defRPr>
            </a:lvl1pPr>
          </a:lstStyle>
          <a:p>
            <a:r>
              <a:rPr lang="nb-NO" smtClean="0"/>
              <a:t>08.06.2015</a:t>
            </a:r>
            <a:endParaRPr lang="nb-NO" dirty="0"/>
          </a:p>
        </p:txBody>
      </p:sp>
      <p:sp>
        <p:nvSpPr>
          <p:cNvPr id="8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6732240" y="4776979"/>
            <a:ext cx="2160240" cy="162017"/>
          </a:xfrm>
          <a:prstGeom prst="rect">
            <a:avLst/>
          </a:prstGeom>
        </p:spPr>
        <p:txBody>
          <a:bodyPr anchor="ctr" anchorCtr="0"/>
          <a:lstStyle>
            <a:lvl1pPr algn="l">
              <a:defRPr sz="1000" b="1">
                <a:solidFill>
                  <a:srgbClr val="039BAF"/>
                </a:solidFill>
              </a:defRPr>
            </a:lvl1pPr>
          </a:lstStyle>
          <a:p>
            <a:r>
              <a:rPr lang="nb-NO" smtClean="0"/>
              <a:t>KMD</a:t>
            </a:r>
            <a:endParaRPr lang="nb-NO" dirty="0"/>
          </a:p>
        </p:txBody>
      </p:sp>
      <p:sp>
        <p:nvSpPr>
          <p:cNvPr id="9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7884368" y="4993003"/>
            <a:ext cx="648072" cy="108011"/>
          </a:xfrm>
          <a:prstGeom prst="rect">
            <a:avLst/>
          </a:prstGeom>
        </p:spPr>
        <p:txBody>
          <a:bodyPr anchor="ctr" anchorCtr="0"/>
          <a:lstStyle>
            <a:lvl1pPr>
              <a:defRPr sz="800">
                <a:solidFill>
                  <a:srgbClr val="003244"/>
                </a:solidFill>
              </a:defRPr>
            </a:lvl1pPr>
          </a:lstStyle>
          <a:p>
            <a:fld id="{CDA22134-EA94-4B2E-9154-EB8F13265450}" type="slidenum">
              <a:rPr lang="nb-NO" smtClean="0"/>
              <a:pPr/>
              <a:t>‹#›</a:t>
            </a:fld>
            <a:endParaRPr lang="nb-NO" dirty="0"/>
          </a:p>
        </p:txBody>
      </p:sp>
      <p:pic>
        <p:nvPicPr>
          <p:cNvPr id="10" name="Bilde 9"/>
          <p:cNvPicPr>
            <a:picLocks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6238" y="4894009"/>
            <a:ext cx="1076709" cy="1467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83594027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elforside #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Bilde 12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5000"/>
          <a:stretch/>
        </p:blipFill>
        <p:spPr>
          <a:xfrm>
            <a:off x="0" y="0"/>
            <a:ext cx="9143245" cy="4708772"/>
          </a:xfrm>
          <a:prstGeom prst="rect">
            <a:avLst/>
          </a:prstGeom>
          <a:solidFill>
            <a:srgbClr val="0093A7"/>
          </a:solidFill>
        </p:spPr>
      </p:pic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685800" y="1392860"/>
            <a:ext cx="7772400" cy="617734"/>
          </a:xfrm>
        </p:spPr>
        <p:txBody>
          <a:bodyPr>
            <a:spAutoFit/>
          </a:bodyPr>
          <a:lstStyle>
            <a:lvl1pPr algn="l">
              <a:defRPr b="1">
                <a:solidFill>
                  <a:schemeClr val="bg1"/>
                </a:solidFill>
              </a:defRPr>
            </a:lvl1pPr>
          </a:lstStyle>
          <a:p>
            <a:r>
              <a:rPr lang="nb-NO" smtClean="0"/>
              <a:t>Klikk for å redigere tittelstil</a:t>
            </a:r>
            <a:endParaRPr lang="nb-NO" dirty="0"/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685800" y="1990829"/>
            <a:ext cx="7772400" cy="448457"/>
          </a:xfrm>
        </p:spPr>
        <p:txBody>
          <a:bodyPr wrap="square">
            <a:spAutoFit/>
          </a:bodyPr>
          <a:lstStyle>
            <a:lvl1pPr marL="0" indent="0" algn="l">
              <a:buNone/>
              <a:defRPr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b-NO" smtClean="0"/>
              <a:t>Klikk for å redigere undertittelstil i malen</a:t>
            </a:r>
            <a:endParaRPr lang="nb-NO" dirty="0"/>
          </a:p>
        </p:txBody>
      </p:sp>
      <p:sp>
        <p:nvSpPr>
          <p:cNvPr id="9" name="Plassholder for dato 3"/>
          <p:cNvSpPr>
            <a:spLocks noGrp="1"/>
          </p:cNvSpPr>
          <p:nvPr>
            <p:ph type="dt" sz="half" idx="10"/>
          </p:nvPr>
        </p:nvSpPr>
        <p:spPr>
          <a:xfrm>
            <a:off x="6732240" y="4993003"/>
            <a:ext cx="1080120" cy="108011"/>
          </a:xfrm>
          <a:prstGeom prst="rect">
            <a:avLst/>
          </a:prstGeom>
        </p:spPr>
        <p:txBody>
          <a:bodyPr anchor="ctr" anchorCtr="0"/>
          <a:lstStyle>
            <a:lvl1pPr>
              <a:defRPr sz="800">
                <a:solidFill>
                  <a:srgbClr val="003244"/>
                </a:solidFill>
              </a:defRPr>
            </a:lvl1pPr>
          </a:lstStyle>
          <a:p>
            <a:r>
              <a:rPr lang="nb-NO" smtClean="0"/>
              <a:t>08.06.2015</a:t>
            </a:r>
            <a:endParaRPr lang="nb-NO" dirty="0"/>
          </a:p>
        </p:txBody>
      </p:sp>
      <p:sp>
        <p:nvSpPr>
          <p:cNvPr id="10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6732240" y="4776979"/>
            <a:ext cx="2160240" cy="162017"/>
          </a:xfrm>
          <a:prstGeom prst="rect">
            <a:avLst/>
          </a:prstGeom>
        </p:spPr>
        <p:txBody>
          <a:bodyPr anchor="ctr" anchorCtr="0"/>
          <a:lstStyle>
            <a:lvl1pPr algn="l">
              <a:defRPr sz="1000" b="1">
                <a:solidFill>
                  <a:srgbClr val="039BAF"/>
                </a:solidFill>
              </a:defRPr>
            </a:lvl1pPr>
          </a:lstStyle>
          <a:p>
            <a:r>
              <a:rPr lang="nb-NO" smtClean="0"/>
              <a:t>KMD</a:t>
            </a:r>
            <a:endParaRPr lang="nb-NO" dirty="0"/>
          </a:p>
        </p:txBody>
      </p:sp>
      <p:sp>
        <p:nvSpPr>
          <p:cNvPr id="11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7884368" y="4993003"/>
            <a:ext cx="648072" cy="108011"/>
          </a:xfrm>
          <a:prstGeom prst="rect">
            <a:avLst/>
          </a:prstGeom>
        </p:spPr>
        <p:txBody>
          <a:bodyPr anchor="ctr" anchorCtr="0"/>
          <a:lstStyle>
            <a:lvl1pPr>
              <a:defRPr sz="800">
                <a:solidFill>
                  <a:srgbClr val="003244"/>
                </a:solidFill>
              </a:defRPr>
            </a:lvl1pPr>
          </a:lstStyle>
          <a:p>
            <a:fld id="{CDA22134-EA94-4B2E-9154-EB8F13265450}" type="slidenum">
              <a:rPr lang="nb-NO" smtClean="0"/>
              <a:pPr/>
              <a:t>‹#›</a:t>
            </a:fld>
            <a:endParaRPr lang="nb-NO" dirty="0"/>
          </a:p>
        </p:txBody>
      </p:sp>
      <p:pic>
        <p:nvPicPr>
          <p:cNvPr id="12" name="Bilde 11"/>
          <p:cNvPicPr>
            <a:picLocks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6238" y="4894009"/>
            <a:ext cx="1076709" cy="1467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0108523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elforside #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5385"/>
          <a:stretch/>
        </p:blipFill>
        <p:spPr>
          <a:xfrm>
            <a:off x="0" y="0"/>
            <a:ext cx="9143245" cy="4707326"/>
          </a:xfrm>
          <a:prstGeom prst="rect">
            <a:avLst/>
          </a:prstGeom>
        </p:spPr>
      </p:pic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685800" y="1392860"/>
            <a:ext cx="7772400" cy="617734"/>
          </a:xfrm>
        </p:spPr>
        <p:txBody>
          <a:bodyPr>
            <a:spAutoFit/>
          </a:bodyPr>
          <a:lstStyle>
            <a:lvl1pPr algn="l">
              <a:defRPr b="1">
                <a:solidFill>
                  <a:schemeClr val="bg1"/>
                </a:solidFill>
              </a:defRPr>
            </a:lvl1pPr>
          </a:lstStyle>
          <a:p>
            <a:r>
              <a:rPr lang="nb-NO" smtClean="0"/>
              <a:t>Klikk for å redigere tittelstil</a:t>
            </a:r>
            <a:endParaRPr lang="nb-NO" dirty="0"/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685800" y="1990829"/>
            <a:ext cx="7772400" cy="448457"/>
          </a:xfrm>
        </p:spPr>
        <p:txBody>
          <a:bodyPr wrap="square">
            <a:spAutoFit/>
          </a:bodyPr>
          <a:lstStyle>
            <a:lvl1pPr marL="0" indent="0" algn="l">
              <a:buNone/>
              <a:defRPr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b-NO" smtClean="0"/>
              <a:t>Klikk for å redigere undertittelstil i malen</a:t>
            </a:r>
            <a:endParaRPr lang="nb-NO" dirty="0"/>
          </a:p>
        </p:txBody>
      </p:sp>
      <p:sp>
        <p:nvSpPr>
          <p:cNvPr id="10" name="Plassholder for dato 3"/>
          <p:cNvSpPr>
            <a:spLocks noGrp="1"/>
          </p:cNvSpPr>
          <p:nvPr>
            <p:ph type="dt" sz="half" idx="10"/>
          </p:nvPr>
        </p:nvSpPr>
        <p:spPr>
          <a:xfrm>
            <a:off x="6732240" y="4993003"/>
            <a:ext cx="1080120" cy="108011"/>
          </a:xfrm>
          <a:prstGeom prst="rect">
            <a:avLst/>
          </a:prstGeom>
        </p:spPr>
        <p:txBody>
          <a:bodyPr anchor="ctr" anchorCtr="0"/>
          <a:lstStyle>
            <a:lvl1pPr>
              <a:defRPr sz="800">
                <a:solidFill>
                  <a:srgbClr val="003244"/>
                </a:solidFill>
              </a:defRPr>
            </a:lvl1pPr>
          </a:lstStyle>
          <a:p>
            <a:r>
              <a:rPr lang="nb-NO" smtClean="0"/>
              <a:t>08.06.2015</a:t>
            </a:r>
            <a:endParaRPr lang="nb-NO" dirty="0"/>
          </a:p>
        </p:txBody>
      </p:sp>
      <p:sp>
        <p:nvSpPr>
          <p:cNvPr id="11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6732240" y="4776979"/>
            <a:ext cx="2160240" cy="162017"/>
          </a:xfrm>
          <a:prstGeom prst="rect">
            <a:avLst/>
          </a:prstGeom>
        </p:spPr>
        <p:txBody>
          <a:bodyPr anchor="ctr" anchorCtr="0"/>
          <a:lstStyle>
            <a:lvl1pPr algn="l">
              <a:defRPr sz="1000" b="1">
                <a:solidFill>
                  <a:srgbClr val="039BAF"/>
                </a:solidFill>
              </a:defRPr>
            </a:lvl1pPr>
          </a:lstStyle>
          <a:p>
            <a:r>
              <a:rPr lang="nb-NO" smtClean="0"/>
              <a:t>KMD</a:t>
            </a:r>
            <a:endParaRPr lang="nb-NO" dirty="0"/>
          </a:p>
        </p:txBody>
      </p:sp>
      <p:sp>
        <p:nvSpPr>
          <p:cNvPr id="12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7884368" y="4993003"/>
            <a:ext cx="648072" cy="108011"/>
          </a:xfrm>
          <a:prstGeom prst="rect">
            <a:avLst/>
          </a:prstGeom>
        </p:spPr>
        <p:txBody>
          <a:bodyPr anchor="ctr" anchorCtr="0"/>
          <a:lstStyle>
            <a:lvl1pPr>
              <a:defRPr sz="800">
                <a:solidFill>
                  <a:srgbClr val="003244"/>
                </a:solidFill>
              </a:defRPr>
            </a:lvl1pPr>
          </a:lstStyle>
          <a:p>
            <a:fld id="{CDA22134-EA94-4B2E-9154-EB8F13265450}" type="slidenum">
              <a:rPr lang="nb-NO" smtClean="0"/>
              <a:pPr/>
              <a:t>‹#›</a:t>
            </a:fld>
            <a:endParaRPr lang="nb-NO" dirty="0"/>
          </a:p>
        </p:txBody>
      </p:sp>
      <p:pic>
        <p:nvPicPr>
          <p:cNvPr id="9" name="Bilde 8"/>
          <p:cNvPicPr>
            <a:picLocks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6238" y="4894009"/>
            <a:ext cx="1076709" cy="1467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4734937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468000" y="716424"/>
            <a:ext cx="8208000" cy="402291"/>
          </a:xfrm>
        </p:spPr>
        <p:txBody>
          <a:bodyPr/>
          <a:lstStyle>
            <a:lvl1pPr>
              <a:defRPr sz="2000"/>
            </a:lvl1pPr>
          </a:lstStyle>
          <a:p>
            <a:r>
              <a:rPr lang="nb-NO" smtClean="0"/>
              <a:t>Klikk for å redigere tittelstil</a:t>
            </a:r>
            <a:endParaRPr lang="nb-NO"/>
          </a:p>
        </p:txBody>
      </p:sp>
      <p:sp>
        <p:nvSpPr>
          <p:cNvPr id="7" name="Plassholder for dato 3"/>
          <p:cNvSpPr>
            <a:spLocks noGrp="1"/>
          </p:cNvSpPr>
          <p:nvPr>
            <p:ph type="dt" sz="half" idx="2"/>
          </p:nvPr>
        </p:nvSpPr>
        <p:spPr>
          <a:xfrm>
            <a:off x="6732240" y="4993003"/>
            <a:ext cx="1080120" cy="108011"/>
          </a:xfrm>
          <a:prstGeom prst="rect">
            <a:avLst/>
          </a:prstGeom>
        </p:spPr>
        <p:txBody>
          <a:bodyPr anchor="ctr" anchorCtr="0"/>
          <a:lstStyle>
            <a:lvl1pPr>
              <a:defRPr sz="800">
                <a:solidFill>
                  <a:srgbClr val="003244"/>
                </a:solidFill>
              </a:defRPr>
            </a:lvl1pPr>
          </a:lstStyle>
          <a:p>
            <a:r>
              <a:rPr lang="nb-NO" smtClean="0"/>
              <a:t>08.06.2015</a:t>
            </a:r>
            <a:endParaRPr lang="nb-NO" dirty="0"/>
          </a:p>
        </p:txBody>
      </p:sp>
      <p:sp>
        <p:nvSpPr>
          <p:cNvPr id="8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6732240" y="4776979"/>
            <a:ext cx="2160240" cy="162017"/>
          </a:xfrm>
          <a:prstGeom prst="rect">
            <a:avLst/>
          </a:prstGeom>
        </p:spPr>
        <p:txBody>
          <a:bodyPr anchor="ctr" anchorCtr="0"/>
          <a:lstStyle>
            <a:lvl1pPr algn="l">
              <a:defRPr sz="1000" b="1">
                <a:solidFill>
                  <a:srgbClr val="039BAF"/>
                </a:solidFill>
              </a:defRPr>
            </a:lvl1pPr>
          </a:lstStyle>
          <a:p>
            <a:r>
              <a:rPr lang="nb-NO" smtClean="0"/>
              <a:t>KMD</a:t>
            </a:r>
            <a:endParaRPr lang="nb-NO" dirty="0"/>
          </a:p>
        </p:txBody>
      </p:sp>
      <p:sp>
        <p:nvSpPr>
          <p:cNvPr id="9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7884368" y="4993003"/>
            <a:ext cx="648072" cy="108011"/>
          </a:xfrm>
          <a:prstGeom prst="rect">
            <a:avLst/>
          </a:prstGeom>
        </p:spPr>
        <p:txBody>
          <a:bodyPr anchor="ctr" anchorCtr="0"/>
          <a:lstStyle>
            <a:lvl1pPr>
              <a:defRPr sz="800">
                <a:solidFill>
                  <a:srgbClr val="003244"/>
                </a:solidFill>
              </a:defRPr>
            </a:lvl1pPr>
          </a:lstStyle>
          <a:p>
            <a:fld id="{CDA22134-EA94-4B2E-9154-EB8F13265450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38431143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_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468000" y="593314"/>
            <a:ext cx="8208000" cy="525401"/>
          </a:xfrm>
        </p:spPr>
        <p:txBody>
          <a:bodyPr/>
          <a:lstStyle>
            <a:lvl1pPr>
              <a:defRPr sz="2800"/>
            </a:lvl1pPr>
          </a:lstStyle>
          <a:p>
            <a:r>
              <a:rPr lang="nb-NO" smtClean="0"/>
              <a:t>Klikk for å redigere tittelstil</a:t>
            </a:r>
            <a:endParaRPr lang="nb-NO"/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/>
        <p:txBody>
          <a:bodyPr vert="horz" lIns="90000" tIns="46800" rIns="90000" bIns="46800" rtlCol="0">
            <a:normAutofit/>
          </a:bodyPr>
          <a:lstStyle>
            <a:lvl1pPr>
              <a:defRPr lang="nb-NO" smtClean="0"/>
            </a:lvl1pPr>
            <a:lvl2pPr>
              <a:defRPr lang="nb-NO" sz="1100" smtClean="0"/>
            </a:lvl2pPr>
            <a:lvl3pPr>
              <a:defRPr lang="nb-NO" sz="1100" smtClean="0"/>
            </a:lvl3pPr>
            <a:lvl4pPr>
              <a:defRPr lang="nb-NO" sz="1100" smtClean="0"/>
            </a:lvl4pPr>
            <a:lvl5pPr>
              <a:defRPr lang="nb-NO" sz="1100"/>
            </a:lvl5pPr>
          </a:lstStyle>
          <a:p>
            <a:pPr marL="182563" lvl="0" indent="-182563"/>
            <a:r>
              <a:rPr lang="nb-NO" smtClean="0"/>
              <a:t>Klikk for å redigere tekststiler i malen</a:t>
            </a:r>
          </a:p>
          <a:p>
            <a:pPr marL="358775" lvl="1" indent="-176213"/>
            <a:r>
              <a:rPr lang="nb-NO" smtClean="0"/>
              <a:t>Andre nivå</a:t>
            </a:r>
          </a:p>
          <a:p>
            <a:pPr marL="541338" lvl="2" indent="-182563"/>
            <a:r>
              <a:rPr lang="nb-NO" smtClean="0"/>
              <a:t>Tredje nivå</a:t>
            </a:r>
          </a:p>
          <a:p>
            <a:pPr marL="715963" lvl="3" indent="-174625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nb-NO"/>
          </a:p>
        </p:txBody>
      </p:sp>
      <p:sp>
        <p:nvSpPr>
          <p:cNvPr id="7" name="Plassholder for dato 3"/>
          <p:cNvSpPr>
            <a:spLocks noGrp="1"/>
          </p:cNvSpPr>
          <p:nvPr>
            <p:ph type="dt" sz="half" idx="2"/>
          </p:nvPr>
        </p:nvSpPr>
        <p:spPr>
          <a:xfrm>
            <a:off x="6732240" y="4993003"/>
            <a:ext cx="1080120" cy="108011"/>
          </a:xfrm>
          <a:prstGeom prst="rect">
            <a:avLst/>
          </a:prstGeom>
        </p:spPr>
        <p:txBody>
          <a:bodyPr anchor="ctr" anchorCtr="0"/>
          <a:lstStyle>
            <a:lvl1pPr>
              <a:defRPr sz="800">
                <a:solidFill>
                  <a:srgbClr val="003244"/>
                </a:solidFill>
              </a:defRPr>
            </a:lvl1pPr>
          </a:lstStyle>
          <a:p>
            <a:r>
              <a:rPr lang="nb-NO" smtClean="0"/>
              <a:t>08.06.2015</a:t>
            </a:r>
            <a:endParaRPr lang="nb-NO" dirty="0"/>
          </a:p>
        </p:txBody>
      </p:sp>
      <p:sp>
        <p:nvSpPr>
          <p:cNvPr id="8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6732240" y="4776979"/>
            <a:ext cx="2160240" cy="162017"/>
          </a:xfrm>
          <a:prstGeom prst="rect">
            <a:avLst/>
          </a:prstGeom>
        </p:spPr>
        <p:txBody>
          <a:bodyPr anchor="ctr" anchorCtr="0"/>
          <a:lstStyle>
            <a:lvl1pPr algn="l">
              <a:defRPr sz="1000" b="1">
                <a:solidFill>
                  <a:srgbClr val="039BAF"/>
                </a:solidFill>
              </a:defRPr>
            </a:lvl1pPr>
          </a:lstStyle>
          <a:p>
            <a:r>
              <a:rPr lang="nb-NO" smtClean="0"/>
              <a:t>KMD</a:t>
            </a:r>
            <a:endParaRPr lang="nb-NO" dirty="0"/>
          </a:p>
        </p:txBody>
      </p:sp>
      <p:sp>
        <p:nvSpPr>
          <p:cNvPr id="9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7884368" y="4993003"/>
            <a:ext cx="648072" cy="108011"/>
          </a:xfrm>
          <a:prstGeom prst="rect">
            <a:avLst/>
          </a:prstGeom>
        </p:spPr>
        <p:txBody>
          <a:bodyPr anchor="ctr" anchorCtr="0"/>
          <a:lstStyle>
            <a:lvl1pPr>
              <a:defRPr sz="800">
                <a:solidFill>
                  <a:srgbClr val="003244"/>
                </a:solidFill>
              </a:defRPr>
            </a:lvl1pPr>
          </a:lstStyle>
          <a:p>
            <a:fld id="{CDA22134-EA94-4B2E-9154-EB8F13265450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02180956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468000" y="716424"/>
            <a:ext cx="8208000" cy="402291"/>
          </a:xfrm>
        </p:spPr>
        <p:txBody>
          <a:bodyPr/>
          <a:lstStyle>
            <a:lvl1pPr>
              <a:defRPr sz="2000"/>
            </a:lvl1pPr>
          </a:lstStyle>
          <a:p>
            <a:r>
              <a:rPr lang="nb-NO" smtClean="0"/>
              <a:t>Klikk for å redigere tittelstil</a:t>
            </a:r>
            <a:endParaRPr lang="nb-NO"/>
          </a:p>
        </p:txBody>
      </p:sp>
      <p:sp>
        <p:nvSpPr>
          <p:cNvPr id="11" name="Plassholder for dato 3"/>
          <p:cNvSpPr>
            <a:spLocks noGrp="1"/>
          </p:cNvSpPr>
          <p:nvPr>
            <p:ph type="dt" sz="half" idx="10"/>
          </p:nvPr>
        </p:nvSpPr>
        <p:spPr>
          <a:xfrm>
            <a:off x="6732240" y="4993003"/>
            <a:ext cx="1080120" cy="108011"/>
          </a:xfrm>
          <a:prstGeom prst="rect">
            <a:avLst/>
          </a:prstGeom>
        </p:spPr>
        <p:txBody>
          <a:bodyPr anchor="ctr" anchorCtr="0"/>
          <a:lstStyle>
            <a:lvl1pPr>
              <a:defRPr sz="800">
                <a:solidFill>
                  <a:srgbClr val="003244"/>
                </a:solidFill>
              </a:defRPr>
            </a:lvl1pPr>
          </a:lstStyle>
          <a:p>
            <a:r>
              <a:rPr lang="nb-NO" smtClean="0"/>
              <a:t>08.06.2015</a:t>
            </a:r>
            <a:endParaRPr lang="nb-NO" dirty="0"/>
          </a:p>
        </p:txBody>
      </p:sp>
      <p:sp>
        <p:nvSpPr>
          <p:cNvPr id="12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6732240" y="4776979"/>
            <a:ext cx="2160240" cy="162017"/>
          </a:xfrm>
          <a:prstGeom prst="rect">
            <a:avLst/>
          </a:prstGeom>
        </p:spPr>
        <p:txBody>
          <a:bodyPr anchor="ctr" anchorCtr="0"/>
          <a:lstStyle>
            <a:lvl1pPr algn="l">
              <a:defRPr sz="1000" b="1">
                <a:solidFill>
                  <a:srgbClr val="039BAF"/>
                </a:solidFill>
              </a:defRPr>
            </a:lvl1pPr>
          </a:lstStyle>
          <a:p>
            <a:r>
              <a:rPr lang="nb-NO" smtClean="0"/>
              <a:t>KMD</a:t>
            </a:r>
            <a:endParaRPr lang="nb-NO" dirty="0"/>
          </a:p>
        </p:txBody>
      </p:sp>
      <p:sp>
        <p:nvSpPr>
          <p:cNvPr id="13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7884368" y="4993003"/>
            <a:ext cx="648072" cy="108011"/>
          </a:xfrm>
          <a:prstGeom prst="rect">
            <a:avLst/>
          </a:prstGeom>
        </p:spPr>
        <p:txBody>
          <a:bodyPr anchor="ctr" anchorCtr="0"/>
          <a:lstStyle>
            <a:lvl1pPr>
              <a:defRPr sz="800">
                <a:solidFill>
                  <a:srgbClr val="003244"/>
                </a:solidFill>
              </a:defRPr>
            </a:lvl1pPr>
          </a:lstStyle>
          <a:p>
            <a:fld id="{CDA22134-EA94-4B2E-9154-EB8F13265450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14" name="Plassholder for innhold 2"/>
          <p:cNvSpPr>
            <a:spLocks noGrp="1"/>
          </p:cNvSpPr>
          <p:nvPr>
            <p:ph idx="1"/>
          </p:nvPr>
        </p:nvSpPr>
        <p:spPr>
          <a:xfrm>
            <a:off x="468000" y="1274400"/>
            <a:ext cx="3960000" cy="3394472"/>
          </a:xfrm>
        </p:spPr>
        <p:txBody>
          <a:bodyPr vert="horz" lIns="90000" tIns="46800" rIns="90000" bIns="46800" rtlCol="0">
            <a:normAutofit/>
          </a:bodyPr>
          <a:lstStyle>
            <a:lvl1pPr>
              <a:defRPr lang="nb-NO" dirty="0" smtClean="0"/>
            </a:lvl1pPr>
            <a:lvl2pPr>
              <a:defRPr lang="nb-NO" sz="1100" dirty="0" smtClean="0"/>
            </a:lvl2pPr>
            <a:lvl3pPr>
              <a:defRPr lang="nb-NO" sz="1100" dirty="0" smtClean="0"/>
            </a:lvl3pPr>
            <a:lvl4pPr>
              <a:defRPr lang="nb-NO" sz="1100" dirty="0" smtClean="0"/>
            </a:lvl4pPr>
            <a:lvl5pPr>
              <a:defRPr lang="nb-NO" sz="1100" dirty="0"/>
            </a:lvl5pPr>
          </a:lstStyle>
          <a:p>
            <a:pPr marL="182563" lvl="0" indent="-182563"/>
            <a:r>
              <a:rPr lang="nb-NO" dirty="0" smtClean="0"/>
              <a:t>Klikk for å redigere tekststiler i malen</a:t>
            </a:r>
          </a:p>
          <a:p>
            <a:pPr marL="358775" lvl="1" indent="-176213"/>
            <a:r>
              <a:rPr lang="nb-NO" dirty="0" smtClean="0"/>
              <a:t>Andre nivå</a:t>
            </a:r>
          </a:p>
          <a:p>
            <a:pPr marL="541338" lvl="2" indent="-182563"/>
            <a:r>
              <a:rPr lang="nb-NO" dirty="0" smtClean="0"/>
              <a:t>Tredje nivå</a:t>
            </a:r>
          </a:p>
          <a:p>
            <a:pPr marL="715963" lvl="3" indent="-174625"/>
            <a:r>
              <a:rPr lang="nb-NO" dirty="0" smtClean="0"/>
              <a:t>Fjerde nivå</a:t>
            </a:r>
          </a:p>
          <a:p>
            <a:pPr lvl="4"/>
            <a:r>
              <a:rPr lang="nb-NO" dirty="0" smtClean="0"/>
              <a:t>Femte nivå</a:t>
            </a:r>
            <a:endParaRPr lang="nb-NO" dirty="0"/>
          </a:p>
        </p:txBody>
      </p:sp>
      <p:sp>
        <p:nvSpPr>
          <p:cNvPr id="15" name="Plassholder for innhold 2"/>
          <p:cNvSpPr>
            <a:spLocks noGrp="1"/>
          </p:cNvSpPr>
          <p:nvPr>
            <p:ph idx="11"/>
          </p:nvPr>
        </p:nvSpPr>
        <p:spPr>
          <a:xfrm>
            <a:off x="4724400" y="1274400"/>
            <a:ext cx="3960000" cy="3394472"/>
          </a:xfrm>
        </p:spPr>
        <p:txBody>
          <a:bodyPr vert="horz" lIns="90000" tIns="46800" rIns="90000" bIns="46800" rtlCol="0">
            <a:normAutofit/>
          </a:bodyPr>
          <a:lstStyle>
            <a:lvl1pPr>
              <a:defRPr lang="nb-NO" dirty="0" smtClean="0"/>
            </a:lvl1pPr>
            <a:lvl2pPr>
              <a:defRPr lang="nb-NO" sz="1100" dirty="0" smtClean="0"/>
            </a:lvl2pPr>
            <a:lvl3pPr>
              <a:defRPr lang="nb-NO" sz="1100" dirty="0" smtClean="0"/>
            </a:lvl3pPr>
            <a:lvl4pPr>
              <a:defRPr lang="nb-NO" sz="1100" dirty="0" smtClean="0"/>
            </a:lvl4pPr>
            <a:lvl5pPr>
              <a:defRPr lang="nb-NO" sz="1100" dirty="0"/>
            </a:lvl5pPr>
          </a:lstStyle>
          <a:p>
            <a:pPr marL="182563" lvl="0" indent="-182563"/>
            <a:r>
              <a:rPr lang="nb-NO" dirty="0" smtClean="0"/>
              <a:t>Klikk for å redigere tekststiler i malen</a:t>
            </a:r>
          </a:p>
          <a:p>
            <a:pPr marL="358775" lvl="1" indent="-176213"/>
            <a:r>
              <a:rPr lang="nb-NO" dirty="0" smtClean="0"/>
              <a:t>Andre nivå</a:t>
            </a:r>
          </a:p>
          <a:p>
            <a:pPr marL="541338" lvl="2" indent="-182563"/>
            <a:r>
              <a:rPr lang="nb-NO" dirty="0" smtClean="0"/>
              <a:t>Tredje nivå</a:t>
            </a:r>
          </a:p>
          <a:p>
            <a:pPr marL="715963" lvl="3" indent="-174625"/>
            <a:r>
              <a:rPr lang="nb-NO" dirty="0" smtClean="0"/>
              <a:t>Fjerde nivå</a:t>
            </a:r>
          </a:p>
          <a:p>
            <a:pPr lvl="4"/>
            <a:r>
              <a:rPr lang="nb-NO" dirty="0" smtClean="0"/>
              <a:t>Femte nivå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32774032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468000" y="716424"/>
            <a:ext cx="8208000" cy="402291"/>
          </a:xfrm>
        </p:spPr>
        <p:txBody>
          <a:bodyPr/>
          <a:lstStyle>
            <a:lvl1pPr>
              <a:defRPr sz="2000"/>
            </a:lvl1pPr>
          </a:lstStyle>
          <a:p>
            <a:r>
              <a:rPr lang="nb-NO" smtClean="0"/>
              <a:t>Klikk for å redigere tittelstil</a:t>
            </a:r>
            <a:endParaRPr lang="nb-NO"/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/>
        <p:txBody>
          <a:bodyPr vert="horz" lIns="90000" tIns="46800" rIns="90000" bIns="46800" rtlCol="0">
            <a:normAutofit/>
          </a:bodyPr>
          <a:lstStyle>
            <a:lvl1pPr>
              <a:defRPr lang="nb-NO" smtClean="0"/>
            </a:lvl1pPr>
            <a:lvl2pPr>
              <a:defRPr lang="nb-NO" sz="1100" smtClean="0"/>
            </a:lvl2pPr>
            <a:lvl3pPr>
              <a:defRPr lang="nb-NO" sz="1100" smtClean="0"/>
            </a:lvl3pPr>
            <a:lvl4pPr>
              <a:defRPr lang="nb-NO" sz="1100" smtClean="0"/>
            </a:lvl4pPr>
            <a:lvl5pPr>
              <a:defRPr lang="nb-NO" sz="1100"/>
            </a:lvl5pPr>
          </a:lstStyle>
          <a:p>
            <a:pPr marL="182563" lvl="0" indent="-182563"/>
            <a:r>
              <a:rPr lang="nb-NO" smtClean="0"/>
              <a:t>Klikk for å redigere tekststiler i malen</a:t>
            </a:r>
          </a:p>
          <a:p>
            <a:pPr marL="358775" lvl="1" indent="-176213"/>
            <a:r>
              <a:rPr lang="nb-NO" smtClean="0"/>
              <a:t>Andre nivå</a:t>
            </a:r>
          </a:p>
          <a:p>
            <a:pPr marL="541338" lvl="2" indent="-182563"/>
            <a:r>
              <a:rPr lang="nb-NO" smtClean="0"/>
              <a:t>Tredje nivå</a:t>
            </a:r>
          </a:p>
          <a:p>
            <a:pPr marL="715963" lvl="3" indent="-174625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nb-NO"/>
          </a:p>
        </p:txBody>
      </p:sp>
      <p:sp>
        <p:nvSpPr>
          <p:cNvPr id="7" name="Plassholder for dato 3"/>
          <p:cNvSpPr>
            <a:spLocks noGrp="1"/>
          </p:cNvSpPr>
          <p:nvPr>
            <p:ph type="dt" sz="half" idx="2"/>
          </p:nvPr>
        </p:nvSpPr>
        <p:spPr>
          <a:xfrm>
            <a:off x="6732240" y="4993003"/>
            <a:ext cx="1080120" cy="108011"/>
          </a:xfrm>
          <a:prstGeom prst="rect">
            <a:avLst/>
          </a:prstGeom>
        </p:spPr>
        <p:txBody>
          <a:bodyPr anchor="ctr" anchorCtr="0"/>
          <a:lstStyle>
            <a:lvl1pPr>
              <a:defRPr sz="800">
                <a:solidFill>
                  <a:srgbClr val="003244"/>
                </a:solidFill>
              </a:defRPr>
            </a:lvl1pPr>
          </a:lstStyle>
          <a:p>
            <a:r>
              <a:rPr lang="nb-NO" smtClean="0"/>
              <a:t>08.06.2015</a:t>
            </a:r>
            <a:endParaRPr lang="nb-NO" dirty="0"/>
          </a:p>
        </p:txBody>
      </p:sp>
      <p:sp>
        <p:nvSpPr>
          <p:cNvPr id="8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6732240" y="4776979"/>
            <a:ext cx="2160240" cy="162017"/>
          </a:xfrm>
          <a:prstGeom prst="rect">
            <a:avLst/>
          </a:prstGeom>
        </p:spPr>
        <p:txBody>
          <a:bodyPr anchor="ctr" anchorCtr="0"/>
          <a:lstStyle>
            <a:lvl1pPr algn="l">
              <a:defRPr sz="1000" b="1">
                <a:solidFill>
                  <a:srgbClr val="039BAF"/>
                </a:solidFill>
              </a:defRPr>
            </a:lvl1pPr>
          </a:lstStyle>
          <a:p>
            <a:r>
              <a:rPr lang="nb-NO" smtClean="0"/>
              <a:t>KMD</a:t>
            </a:r>
            <a:endParaRPr lang="nb-NO" dirty="0"/>
          </a:p>
        </p:txBody>
      </p:sp>
      <p:sp>
        <p:nvSpPr>
          <p:cNvPr id="9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7884368" y="4993003"/>
            <a:ext cx="648072" cy="108011"/>
          </a:xfrm>
          <a:prstGeom prst="rect">
            <a:avLst/>
          </a:prstGeom>
        </p:spPr>
        <p:txBody>
          <a:bodyPr anchor="ctr" anchorCtr="0"/>
          <a:lstStyle>
            <a:lvl1pPr>
              <a:defRPr sz="800">
                <a:solidFill>
                  <a:srgbClr val="003244"/>
                </a:solidFill>
              </a:defRPr>
            </a:lvl1pPr>
          </a:lstStyle>
          <a:p>
            <a:fld id="{CDA22134-EA94-4B2E-9154-EB8F13265450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65790974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1.pn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7.xml"/><Relationship Id="rId3" Type="http://schemas.openxmlformats.org/officeDocument/2006/relationships/slideLayout" Target="../slideLayouts/slideLayout22.xml"/><Relationship Id="rId7" Type="http://schemas.openxmlformats.org/officeDocument/2006/relationships/slideLayout" Target="../slideLayouts/slideLayout26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21.xml"/><Relationship Id="rId1" Type="http://schemas.openxmlformats.org/officeDocument/2006/relationships/slideLayout" Target="../slideLayouts/slideLayout20.xml"/><Relationship Id="rId6" Type="http://schemas.openxmlformats.org/officeDocument/2006/relationships/slideLayout" Target="../slideLayouts/slideLayout25.xml"/><Relationship Id="rId11" Type="http://schemas.openxmlformats.org/officeDocument/2006/relationships/slideLayout" Target="../slideLayouts/slideLayout30.xml"/><Relationship Id="rId5" Type="http://schemas.openxmlformats.org/officeDocument/2006/relationships/slideLayout" Target="../slideLayouts/slideLayout24.xml"/><Relationship Id="rId10" Type="http://schemas.openxmlformats.org/officeDocument/2006/relationships/slideLayout" Target="../slideLayouts/slideLayout29.xml"/><Relationship Id="rId4" Type="http://schemas.openxmlformats.org/officeDocument/2006/relationships/slideLayout" Target="../slideLayouts/slideLayout23.xml"/><Relationship Id="rId9" Type="http://schemas.openxmlformats.org/officeDocument/2006/relationships/slideLayout" Target="../slideLayouts/slideLayout28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8.xml"/><Relationship Id="rId3" Type="http://schemas.openxmlformats.org/officeDocument/2006/relationships/slideLayout" Target="../slideLayouts/slideLayout33.xml"/><Relationship Id="rId7" Type="http://schemas.openxmlformats.org/officeDocument/2006/relationships/slideLayout" Target="../slideLayouts/slideLayout37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32.xml"/><Relationship Id="rId1" Type="http://schemas.openxmlformats.org/officeDocument/2006/relationships/slideLayout" Target="../slideLayouts/slideLayout31.xml"/><Relationship Id="rId6" Type="http://schemas.openxmlformats.org/officeDocument/2006/relationships/slideLayout" Target="../slideLayouts/slideLayout36.xml"/><Relationship Id="rId11" Type="http://schemas.openxmlformats.org/officeDocument/2006/relationships/slideLayout" Target="../slideLayouts/slideLayout41.xml"/><Relationship Id="rId5" Type="http://schemas.openxmlformats.org/officeDocument/2006/relationships/slideLayout" Target="../slideLayouts/slideLayout35.xml"/><Relationship Id="rId10" Type="http://schemas.openxmlformats.org/officeDocument/2006/relationships/slideLayout" Target="../slideLayouts/slideLayout40.xml"/><Relationship Id="rId4" Type="http://schemas.openxmlformats.org/officeDocument/2006/relationships/slideLayout" Target="../slideLayouts/slideLayout34.xml"/><Relationship Id="rId9" Type="http://schemas.openxmlformats.org/officeDocument/2006/relationships/slideLayout" Target="../slideLayouts/slideLayout39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9.xml"/><Relationship Id="rId3" Type="http://schemas.openxmlformats.org/officeDocument/2006/relationships/slideLayout" Target="../slideLayouts/slideLayout44.xml"/><Relationship Id="rId7" Type="http://schemas.openxmlformats.org/officeDocument/2006/relationships/slideLayout" Target="../slideLayouts/slideLayout48.xml"/><Relationship Id="rId12" Type="http://schemas.openxmlformats.org/officeDocument/2006/relationships/theme" Target="../theme/theme4.xml"/><Relationship Id="rId2" Type="http://schemas.openxmlformats.org/officeDocument/2006/relationships/slideLayout" Target="../slideLayouts/slideLayout43.xml"/><Relationship Id="rId1" Type="http://schemas.openxmlformats.org/officeDocument/2006/relationships/slideLayout" Target="../slideLayouts/slideLayout42.xml"/><Relationship Id="rId6" Type="http://schemas.openxmlformats.org/officeDocument/2006/relationships/slideLayout" Target="../slideLayouts/slideLayout47.xml"/><Relationship Id="rId11" Type="http://schemas.openxmlformats.org/officeDocument/2006/relationships/slideLayout" Target="../slideLayouts/slideLayout52.xml"/><Relationship Id="rId5" Type="http://schemas.openxmlformats.org/officeDocument/2006/relationships/slideLayout" Target="../slideLayouts/slideLayout46.xml"/><Relationship Id="rId10" Type="http://schemas.openxmlformats.org/officeDocument/2006/relationships/slideLayout" Target="../slideLayouts/slideLayout51.xml"/><Relationship Id="rId4" Type="http://schemas.openxmlformats.org/officeDocument/2006/relationships/slideLayout" Target="../slideLayouts/slideLayout45.xml"/><Relationship Id="rId9" Type="http://schemas.openxmlformats.org/officeDocument/2006/relationships/slideLayout" Target="../slideLayouts/slideLayout50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0.xml"/><Relationship Id="rId3" Type="http://schemas.openxmlformats.org/officeDocument/2006/relationships/slideLayout" Target="../slideLayouts/slideLayout55.xml"/><Relationship Id="rId7" Type="http://schemas.openxmlformats.org/officeDocument/2006/relationships/slideLayout" Target="../slideLayouts/slideLayout59.xml"/><Relationship Id="rId12" Type="http://schemas.openxmlformats.org/officeDocument/2006/relationships/theme" Target="../theme/theme5.xml"/><Relationship Id="rId2" Type="http://schemas.openxmlformats.org/officeDocument/2006/relationships/slideLayout" Target="../slideLayouts/slideLayout54.xml"/><Relationship Id="rId1" Type="http://schemas.openxmlformats.org/officeDocument/2006/relationships/slideLayout" Target="../slideLayouts/slideLayout53.xml"/><Relationship Id="rId6" Type="http://schemas.openxmlformats.org/officeDocument/2006/relationships/slideLayout" Target="../slideLayouts/slideLayout58.xml"/><Relationship Id="rId11" Type="http://schemas.openxmlformats.org/officeDocument/2006/relationships/slideLayout" Target="../slideLayouts/slideLayout63.xml"/><Relationship Id="rId5" Type="http://schemas.openxmlformats.org/officeDocument/2006/relationships/slideLayout" Target="../slideLayouts/slideLayout57.xml"/><Relationship Id="rId10" Type="http://schemas.openxmlformats.org/officeDocument/2006/relationships/slideLayout" Target="../slideLayouts/slideLayout62.xml"/><Relationship Id="rId4" Type="http://schemas.openxmlformats.org/officeDocument/2006/relationships/slideLayout" Target="../slideLayouts/slideLayout56.xml"/><Relationship Id="rId9" Type="http://schemas.openxmlformats.org/officeDocument/2006/relationships/slideLayout" Target="../slideLayouts/slideLayout61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1.xml"/><Relationship Id="rId3" Type="http://schemas.openxmlformats.org/officeDocument/2006/relationships/slideLayout" Target="../slideLayouts/slideLayout66.xml"/><Relationship Id="rId7" Type="http://schemas.openxmlformats.org/officeDocument/2006/relationships/slideLayout" Target="../slideLayouts/slideLayout70.xml"/><Relationship Id="rId12" Type="http://schemas.openxmlformats.org/officeDocument/2006/relationships/theme" Target="../theme/theme6.xml"/><Relationship Id="rId2" Type="http://schemas.openxmlformats.org/officeDocument/2006/relationships/slideLayout" Target="../slideLayouts/slideLayout65.xml"/><Relationship Id="rId1" Type="http://schemas.openxmlformats.org/officeDocument/2006/relationships/slideLayout" Target="../slideLayouts/slideLayout64.xml"/><Relationship Id="rId6" Type="http://schemas.openxmlformats.org/officeDocument/2006/relationships/slideLayout" Target="../slideLayouts/slideLayout69.xml"/><Relationship Id="rId11" Type="http://schemas.openxmlformats.org/officeDocument/2006/relationships/slideLayout" Target="../slideLayouts/slideLayout74.xml"/><Relationship Id="rId5" Type="http://schemas.openxmlformats.org/officeDocument/2006/relationships/slideLayout" Target="../slideLayouts/slideLayout68.xml"/><Relationship Id="rId10" Type="http://schemas.openxmlformats.org/officeDocument/2006/relationships/slideLayout" Target="../slideLayouts/slideLayout73.xml"/><Relationship Id="rId4" Type="http://schemas.openxmlformats.org/officeDocument/2006/relationships/slideLayout" Target="../slideLayouts/slideLayout67.xml"/><Relationship Id="rId9" Type="http://schemas.openxmlformats.org/officeDocument/2006/relationships/slideLayout" Target="../slideLayouts/slideLayout72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2.xml"/><Relationship Id="rId3" Type="http://schemas.openxmlformats.org/officeDocument/2006/relationships/slideLayout" Target="../slideLayouts/slideLayout77.xml"/><Relationship Id="rId7" Type="http://schemas.openxmlformats.org/officeDocument/2006/relationships/slideLayout" Target="../slideLayouts/slideLayout81.xml"/><Relationship Id="rId12" Type="http://schemas.openxmlformats.org/officeDocument/2006/relationships/theme" Target="../theme/theme7.xml"/><Relationship Id="rId2" Type="http://schemas.openxmlformats.org/officeDocument/2006/relationships/slideLayout" Target="../slideLayouts/slideLayout76.xml"/><Relationship Id="rId1" Type="http://schemas.openxmlformats.org/officeDocument/2006/relationships/slideLayout" Target="../slideLayouts/slideLayout75.xml"/><Relationship Id="rId6" Type="http://schemas.openxmlformats.org/officeDocument/2006/relationships/slideLayout" Target="../slideLayouts/slideLayout80.xml"/><Relationship Id="rId11" Type="http://schemas.openxmlformats.org/officeDocument/2006/relationships/slideLayout" Target="../slideLayouts/slideLayout85.xml"/><Relationship Id="rId5" Type="http://schemas.openxmlformats.org/officeDocument/2006/relationships/slideLayout" Target="../slideLayouts/slideLayout79.xml"/><Relationship Id="rId10" Type="http://schemas.openxmlformats.org/officeDocument/2006/relationships/slideLayout" Target="../slideLayouts/slideLayout84.xml"/><Relationship Id="rId4" Type="http://schemas.openxmlformats.org/officeDocument/2006/relationships/slideLayout" Target="../slideLayouts/slideLayout78.xml"/><Relationship Id="rId9" Type="http://schemas.openxmlformats.org/officeDocument/2006/relationships/slideLayout" Target="../slideLayouts/slideLayout83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3.xml"/><Relationship Id="rId13" Type="http://schemas.openxmlformats.org/officeDocument/2006/relationships/slideLayout" Target="../slideLayouts/slideLayout98.xml"/><Relationship Id="rId18" Type="http://schemas.openxmlformats.org/officeDocument/2006/relationships/slideLayout" Target="../slideLayouts/slideLayout103.xml"/><Relationship Id="rId26" Type="http://schemas.openxmlformats.org/officeDocument/2006/relationships/theme" Target="../theme/theme8.xml"/><Relationship Id="rId3" Type="http://schemas.openxmlformats.org/officeDocument/2006/relationships/slideLayout" Target="../slideLayouts/slideLayout88.xml"/><Relationship Id="rId21" Type="http://schemas.openxmlformats.org/officeDocument/2006/relationships/slideLayout" Target="../slideLayouts/slideLayout106.xml"/><Relationship Id="rId7" Type="http://schemas.openxmlformats.org/officeDocument/2006/relationships/slideLayout" Target="../slideLayouts/slideLayout92.xml"/><Relationship Id="rId12" Type="http://schemas.openxmlformats.org/officeDocument/2006/relationships/slideLayout" Target="../slideLayouts/slideLayout97.xml"/><Relationship Id="rId17" Type="http://schemas.openxmlformats.org/officeDocument/2006/relationships/slideLayout" Target="../slideLayouts/slideLayout102.xml"/><Relationship Id="rId25" Type="http://schemas.openxmlformats.org/officeDocument/2006/relationships/slideLayout" Target="../slideLayouts/slideLayout110.xml"/><Relationship Id="rId2" Type="http://schemas.openxmlformats.org/officeDocument/2006/relationships/slideLayout" Target="../slideLayouts/slideLayout87.xml"/><Relationship Id="rId16" Type="http://schemas.openxmlformats.org/officeDocument/2006/relationships/slideLayout" Target="../slideLayouts/slideLayout101.xml"/><Relationship Id="rId20" Type="http://schemas.openxmlformats.org/officeDocument/2006/relationships/slideLayout" Target="../slideLayouts/slideLayout105.xml"/><Relationship Id="rId29" Type="http://schemas.openxmlformats.org/officeDocument/2006/relationships/oleObject" Target="../embeddings/oleObject1.bin"/><Relationship Id="rId1" Type="http://schemas.openxmlformats.org/officeDocument/2006/relationships/slideLayout" Target="../slideLayouts/slideLayout86.xml"/><Relationship Id="rId6" Type="http://schemas.openxmlformats.org/officeDocument/2006/relationships/slideLayout" Target="../slideLayouts/slideLayout91.xml"/><Relationship Id="rId11" Type="http://schemas.openxmlformats.org/officeDocument/2006/relationships/slideLayout" Target="../slideLayouts/slideLayout96.xml"/><Relationship Id="rId24" Type="http://schemas.openxmlformats.org/officeDocument/2006/relationships/slideLayout" Target="../slideLayouts/slideLayout109.xml"/><Relationship Id="rId5" Type="http://schemas.openxmlformats.org/officeDocument/2006/relationships/slideLayout" Target="../slideLayouts/slideLayout90.xml"/><Relationship Id="rId15" Type="http://schemas.openxmlformats.org/officeDocument/2006/relationships/slideLayout" Target="../slideLayouts/slideLayout100.xml"/><Relationship Id="rId23" Type="http://schemas.openxmlformats.org/officeDocument/2006/relationships/slideLayout" Target="../slideLayouts/slideLayout108.xml"/><Relationship Id="rId28" Type="http://schemas.openxmlformats.org/officeDocument/2006/relationships/tags" Target="../tags/tag2.xml"/><Relationship Id="rId10" Type="http://schemas.openxmlformats.org/officeDocument/2006/relationships/slideLayout" Target="../slideLayouts/slideLayout95.xml"/><Relationship Id="rId19" Type="http://schemas.openxmlformats.org/officeDocument/2006/relationships/slideLayout" Target="../slideLayouts/slideLayout104.xml"/><Relationship Id="rId31" Type="http://schemas.openxmlformats.org/officeDocument/2006/relationships/image" Target="../media/image1.png"/><Relationship Id="rId4" Type="http://schemas.openxmlformats.org/officeDocument/2006/relationships/slideLayout" Target="../slideLayouts/slideLayout89.xml"/><Relationship Id="rId9" Type="http://schemas.openxmlformats.org/officeDocument/2006/relationships/slideLayout" Target="../slideLayouts/slideLayout94.xml"/><Relationship Id="rId14" Type="http://schemas.openxmlformats.org/officeDocument/2006/relationships/slideLayout" Target="../slideLayouts/slideLayout99.xml"/><Relationship Id="rId22" Type="http://schemas.openxmlformats.org/officeDocument/2006/relationships/slideLayout" Target="../slideLayouts/slideLayout107.xml"/><Relationship Id="rId27" Type="http://schemas.openxmlformats.org/officeDocument/2006/relationships/vmlDrawing" Target="../drawings/vmlDrawing1.vml"/><Relationship Id="rId30" Type="http://schemas.openxmlformats.org/officeDocument/2006/relationships/image" Target="../media/image1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tittel 1"/>
          <p:cNvSpPr>
            <a:spLocks noGrp="1"/>
          </p:cNvSpPr>
          <p:nvPr>
            <p:ph type="title"/>
          </p:nvPr>
        </p:nvSpPr>
        <p:spPr>
          <a:xfrm>
            <a:off x="468000" y="716437"/>
            <a:ext cx="8208000" cy="402279"/>
          </a:xfrm>
          <a:prstGeom prst="rect">
            <a:avLst/>
          </a:prstGeom>
        </p:spPr>
        <p:txBody>
          <a:bodyPr vert="horz" lIns="89990" tIns="46794" rIns="89990" bIns="46794" rtlCol="0" anchor="b" anchorCtr="0">
            <a:spAutoFit/>
          </a:bodyPr>
          <a:lstStyle/>
          <a:p>
            <a:r>
              <a:rPr lang="nb-NO" dirty="0" smtClean="0"/>
              <a:t>Klikk for å redigere tittelstil</a:t>
            </a:r>
            <a:endParaRPr lang="nb-NO" dirty="0"/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468000" y="1274401"/>
            <a:ext cx="8208000" cy="3394472"/>
          </a:xfrm>
          <a:prstGeom prst="rect">
            <a:avLst/>
          </a:prstGeom>
        </p:spPr>
        <p:txBody>
          <a:bodyPr vert="horz" lIns="89990" tIns="46794" rIns="89990" bIns="46794" rtlCol="0">
            <a:normAutofit/>
          </a:bodyPr>
          <a:lstStyle/>
          <a:p>
            <a:pPr lvl="0"/>
            <a:r>
              <a:rPr lang="nb-NO" dirty="0" smtClean="0"/>
              <a:t>Klikk for å redigere tekststiler i malen</a:t>
            </a:r>
          </a:p>
          <a:p>
            <a:pPr lvl="1"/>
            <a:r>
              <a:rPr lang="nb-NO" dirty="0" smtClean="0"/>
              <a:t>Andre nivå</a:t>
            </a:r>
          </a:p>
          <a:p>
            <a:pPr lvl="2"/>
            <a:r>
              <a:rPr lang="nb-NO" dirty="0" smtClean="0"/>
              <a:t>Tredje nivå</a:t>
            </a:r>
          </a:p>
          <a:p>
            <a:pPr lvl="3"/>
            <a:r>
              <a:rPr lang="nb-NO" dirty="0" smtClean="0"/>
              <a:t>Fjerde nivå</a:t>
            </a:r>
          </a:p>
          <a:p>
            <a:pPr lvl="4"/>
            <a:r>
              <a:rPr lang="nb-NO" dirty="0" smtClean="0"/>
              <a:t>Femte nivå</a:t>
            </a:r>
            <a:endParaRPr lang="nb-NO" dirty="0"/>
          </a:p>
        </p:txBody>
      </p:sp>
      <p:sp>
        <p:nvSpPr>
          <p:cNvPr id="7" name="Plassholder for dato 3"/>
          <p:cNvSpPr>
            <a:spLocks noGrp="1"/>
          </p:cNvSpPr>
          <p:nvPr>
            <p:ph type="dt" sz="half" idx="2"/>
          </p:nvPr>
        </p:nvSpPr>
        <p:spPr>
          <a:xfrm>
            <a:off x="6732240" y="4993004"/>
            <a:ext cx="1080120" cy="108011"/>
          </a:xfrm>
          <a:prstGeom prst="rect">
            <a:avLst/>
          </a:prstGeom>
        </p:spPr>
        <p:txBody>
          <a:bodyPr lIns="91430" tIns="45715" rIns="91430" bIns="45715" anchor="ctr" anchorCtr="0"/>
          <a:lstStyle>
            <a:lvl1pPr>
              <a:defRPr sz="800">
                <a:solidFill>
                  <a:srgbClr val="003244"/>
                </a:solidFill>
              </a:defRPr>
            </a:lvl1pPr>
          </a:lstStyle>
          <a:p>
            <a:fld id="{662F1EFC-30C1-4101-852B-AC1649E27541}" type="datetime1">
              <a:rPr lang="nb-NO" smtClean="0"/>
              <a:t>13.09.2015</a:t>
            </a:fld>
            <a:endParaRPr lang="nb-NO" dirty="0"/>
          </a:p>
        </p:txBody>
      </p:sp>
      <p:sp>
        <p:nvSpPr>
          <p:cNvPr id="8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6732240" y="4776980"/>
            <a:ext cx="2160240" cy="162017"/>
          </a:xfrm>
          <a:prstGeom prst="rect">
            <a:avLst/>
          </a:prstGeom>
        </p:spPr>
        <p:txBody>
          <a:bodyPr lIns="91430" tIns="45715" rIns="91430" bIns="45715" anchor="ctr" anchorCtr="0"/>
          <a:lstStyle>
            <a:lvl1pPr algn="l">
              <a:defRPr sz="1000" b="1">
                <a:solidFill>
                  <a:srgbClr val="039BAF"/>
                </a:solidFill>
              </a:defRPr>
            </a:lvl1pPr>
          </a:lstStyle>
          <a:p>
            <a:r>
              <a:rPr lang="nb-NO" dirty="0" smtClean="0"/>
              <a:t>IKT utfordringsbilde</a:t>
            </a:r>
            <a:endParaRPr lang="nb-NO" dirty="0"/>
          </a:p>
        </p:txBody>
      </p:sp>
      <p:sp>
        <p:nvSpPr>
          <p:cNvPr id="9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7884368" y="4993004"/>
            <a:ext cx="648072" cy="108011"/>
          </a:xfrm>
          <a:prstGeom prst="rect">
            <a:avLst/>
          </a:prstGeom>
        </p:spPr>
        <p:txBody>
          <a:bodyPr lIns="91430" tIns="45715" rIns="91430" bIns="45715" anchor="ctr" anchorCtr="0"/>
          <a:lstStyle>
            <a:lvl1pPr>
              <a:defRPr sz="800">
                <a:solidFill>
                  <a:srgbClr val="003244"/>
                </a:solidFill>
              </a:defRPr>
            </a:lvl1pPr>
          </a:lstStyle>
          <a:p>
            <a:fld id="{CDA22134-EA94-4B2E-9154-EB8F13265450}" type="slidenum">
              <a:rPr lang="nb-NO" smtClean="0"/>
              <a:pPr/>
              <a:t>‹#›</a:t>
            </a:fld>
            <a:endParaRPr lang="nb-NO" dirty="0"/>
          </a:p>
        </p:txBody>
      </p:sp>
      <p:pic>
        <p:nvPicPr>
          <p:cNvPr id="10" name="Bilde 9"/>
          <p:cNvPicPr>
            <a:picLocks/>
          </p:cNvPicPr>
          <p:nvPr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6239" y="4894009"/>
            <a:ext cx="1076709" cy="146744"/>
          </a:xfrm>
          <a:prstGeom prst="rect">
            <a:avLst/>
          </a:prstGeom>
        </p:spPr>
      </p:pic>
      <p:cxnSp>
        <p:nvCxnSpPr>
          <p:cNvPr id="13" name="Rett linje 12"/>
          <p:cNvCxnSpPr/>
          <p:nvPr/>
        </p:nvCxnSpPr>
        <p:spPr>
          <a:xfrm>
            <a:off x="0" y="4742876"/>
            <a:ext cx="9144000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642397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9" r:id="rId2"/>
    <p:sldLayoutId id="2147483660" r:id="rId3"/>
    <p:sldLayoutId id="2147483661" r:id="rId4"/>
    <p:sldLayoutId id="2147483662" r:id="rId5"/>
    <p:sldLayoutId id="2147483663" r:id="rId6"/>
    <p:sldLayoutId id="2147483664" r:id="rId7"/>
    <p:sldLayoutId id="2147483665" r:id="rId8"/>
    <p:sldLayoutId id="2147483666" r:id="rId9"/>
    <p:sldLayoutId id="2147483667" r:id="rId10"/>
    <p:sldLayoutId id="2147483674" r:id="rId11"/>
    <p:sldLayoutId id="2147483650" r:id="rId12"/>
    <p:sldLayoutId id="2147483652" r:id="rId13"/>
    <p:sldLayoutId id="2147483673" r:id="rId14"/>
    <p:sldLayoutId id="2147483670" r:id="rId15"/>
    <p:sldLayoutId id="2147483671" r:id="rId16"/>
    <p:sldLayoutId id="2147483672" r:id="rId17"/>
    <p:sldLayoutId id="2147483653" r:id="rId18"/>
    <p:sldLayoutId id="2147484197" r:id="rId19"/>
  </p:sldLayoutIdLst>
  <p:timing>
    <p:tnLst>
      <p:par>
        <p:cTn id="1" dur="indefinite" restart="never" nodeType="tmRoot"/>
      </p:par>
    </p:tnLst>
  </p:timing>
  <p:hf hdr="0"/>
  <p:txStyles>
    <p:titleStyle>
      <a:lvl1pPr algn="l" defTabSz="914296" rtl="0" eaLnBrk="1" latinLnBrk="0" hangingPunct="1">
        <a:spcBef>
          <a:spcPct val="0"/>
        </a:spcBef>
        <a:buNone/>
        <a:defRPr sz="2000" kern="1200">
          <a:solidFill>
            <a:srgbClr val="003244"/>
          </a:solidFill>
          <a:latin typeface="+mj-lt"/>
          <a:ea typeface="+mj-ea"/>
          <a:cs typeface="+mj-cs"/>
        </a:defRPr>
      </a:lvl1pPr>
    </p:titleStyle>
    <p:bodyStyle>
      <a:lvl1pPr marL="342861" indent="-342861" algn="l" defTabSz="914296" rtl="0" eaLnBrk="1" latinLnBrk="0" hangingPunct="1">
        <a:spcBef>
          <a:spcPct val="20000"/>
        </a:spcBef>
        <a:buFont typeface="Arial" pitchFamily="34" charset="0"/>
        <a:buChar char="•"/>
        <a:defRPr sz="1200" kern="1200">
          <a:solidFill>
            <a:srgbClr val="003244"/>
          </a:solidFill>
          <a:latin typeface="+mn-lt"/>
          <a:ea typeface="+mn-ea"/>
          <a:cs typeface="+mn-cs"/>
        </a:defRPr>
      </a:lvl1pPr>
      <a:lvl2pPr marL="742865" indent="-285717" algn="l" defTabSz="914296" rtl="0" eaLnBrk="1" latinLnBrk="0" hangingPunct="1">
        <a:spcBef>
          <a:spcPct val="20000"/>
        </a:spcBef>
        <a:buFont typeface="Arial" pitchFamily="34" charset="0"/>
        <a:buChar char="–"/>
        <a:defRPr sz="1200" kern="1200">
          <a:solidFill>
            <a:srgbClr val="003244"/>
          </a:solidFill>
          <a:latin typeface="+mn-lt"/>
          <a:ea typeface="+mn-ea"/>
          <a:cs typeface="+mn-cs"/>
        </a:defRPr>
      </a:lvl2pPr>
      <a:lvl3pPr marL="1142870" indent="-228574" algn="l" defTabSz="914296" rtl="0" eaLnBrk="1" latinLnBrk="0" hangingPunct="1">
        <a:spcBef>
          <a:spcPct val="20000"/>
        </a:spcBef>
        <a:buFont typeface="Arial" pitchFamily="34" charset="0"/>
        <a:buChar char="•"/>
        <a:defRPr sz="1200" kern="1200">
          <a:solidFill>
            <a:srgbClr val="003244"/>
          </a:solidFill>
          <a:latin typeface="+mn-lt"/>
          <a:ea typeface="+mn-ea"/>
          <a:cs typeface="+mn-cs"/>
        </a:defRPr>
      </a:lvl3pPr>
      <a:lvl4pPr marL="1600018" indent="-228574" algn="l" defTabSz="914296" rtl="0" eaLnBrk="1" latinLnBrk="0" hangingPunct="1">
        <a:spcBef>
          <a:spcPct val="20000"/>
        </a:spcBef>
        <a:buFont typeface="Arial" pitchFamily="34" charset="0"/>
        <a:buChar char="–"/>
        <a:defRPr sz="1200" kern="1200">
          <a:solidFill>
            <a:srgbClr val="003244"/>
          </a:solidFill>
          <a:latin typeface="+mn-lt"/>
          <a:ea typeface="+mn-ea"/>
          <a:cs typeface="+mn-cs"/>
        </a:defRPr>
      </a:lvl4pPr>
      <a:lvl5pPr marL="2057166" indent="-228574" algn="l" defTabSz="914296" rtl="0" eaLnBrk="1" latinLnBrk="0" hangingPunct="1">
        <a:spcBef>
          <a:spcPct val="20000"/>
        </a:spcBef>
        <a:buFont typeface="Arial" pitchFamily="34" charset="0"/>
        <a:buChar char="»"/>
        <a:defRPr sz="1200" kern="1200">
          <a:solidFill>
            <a:srgbClr val="003244"/>
          </a:solidFill>
          <a:latin typeface="+mn-lt"/>
          <a:ea typeface="+mn-ea"/>
          <a:cs typeface="+mn-cs"/>
        </a:defRPr>
      </a:lvl5pPr>
      <a:lvl6pPr marL="2514314" indent="-228574" algn="l" defTabSz="914296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462" indent="-228574" algn="l" defTabSz="914296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610" indent="-228574" algn="l" defTabSz="914296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758" indent="-228574" algn="l" defTabSz="914296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91429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48" algn="l" defTabSz="91429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96" algn="l" defTabSz="91429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44" algn="l" defTabSz="91429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592" algn="l" defTabSz="91429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40" algn="l" defTabSz="91429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888" algn="l" defTabSz="91429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36" algn="l" defTabSz="91429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184" algn="l" defTabSz="91429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tittel 1"/>
          <p:cNvSpPr>
            <a:spLocks noGrp="1"/>
          </p:cNvSpPr>
          <p:nvPr>
            <p:ph type="title"/>
          </p:nvPr>
        </p:nvSpPr>
        <p:spPr>
          <a:xfrm>
            <a:off x="628652" y="273844"/>
            <a:ext cx="7886700" cy="994172"/>
          </a:xfrm>
          <a:prstGeom prst="rect">
            <a:avLst/>
          </a:prstGeom>
        </p:spPr>
        <p:txBody>
          <a:bodyPr vert="horz" lIns="77916" tIns="38958" rIns="77916" bIns="38958" rtlCol="0" anchor="ctr">
            <a:normAutofit/>
          </a:bodyPr>
          <a:lstStyle/>
          <a:p>
            <a:r>
              <a:rPr lang="nb-NO" smtClean="0"/>
              <a:t>Klikk for å redigere tittelstil</a:t>
            </a:r>
            <a:endParaRPr lang="nb-NO"/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628652" y="1369219"/>
            <a:ext cx="7886700" cy="3263504"/>
          </a:xfrm>
          <a:prstGeom prst="rect">
            <a:avLst/>
          </a:prstGeom>
        </p:spPr>
        <p:txBody>
          <a:bodyPr vert="horz" lIns="77916" tIns="38958" rIns="77916" bIns="38958" rtlCol="0">
            <a:normAutofit/>
          </a:bodyPr>
          <a:lstStyle/>
          <a:p>
            <a:pPr lvl="0"/>
            <a:r>
              <a:rPr lang="nb-NO" smtClean="0"/>
              <a:t>Klikk for å redigere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  <a:p>
            <a:pPr lvl="3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nb-NO"/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2"/>
          </p:nvPr>
        </p:nvSpPr>
        <p:spPr>
          <a:xfrm>
            <a:off x="628650" y="4767264"/>
            <a:ext cx="2057400" cy="273844"/>
          </a:xfrm>
          <a:prstGeom prst="rect">
            <a:avLst/>
          </a:prstGeom>
        </p:spPr>
        <p:txBody>
          <a:bodyPr vert="horz" lIns="77916" tIns="38958" rIns="77916" bIns="38958" rtlCol="0" anchor="ctr"/>
          <a:lstStyle>
            <a:lvl1pPr algn="l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eaLnBrk="0" fontAlgn="base" hangingPunct="0">
              <a:spcBef>
                <a:spcPct val="50000"/>
              </a:spcBef>
              <a:spcAft>
                <a:spcPct val="0"/>
              </a:spcAft>
              <a:buClr>
                <a:srgbClr val="44546A"/>
              </a:buClr>
              <a:buFont typeface="Symbol" pitchFamily="18" charset="2"/>
              <a:buNone/>
            </a:pPr>
            <a:fld id="{57CDDEFD-23F0-42EB-B054-95271AF0C6FD}" type="datetimeFigureOut">
              <a:rPr lang="nb-NO" smtClean="0">
                <a:solidFill>
                  <a:prstClr val="black">
                    <a:tint val="75000"/>
                  </a:prstClr>
                </a:solidFill>
                <a:latin typeface="Arial" charset="0"/>
              </a:rPr>
              <a:pPr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rgbClr val="44546A"/>
                </a:buClr>
                <a:buFont typeface="Symbol" pitchFamily="18" charset="2"/>
                <a:buNone/>
              </a:pPr>
              <a:t>13.09.2015</a:t>
            </a:fld>
            <a:endParaRPr lang="nb-NO">
              <a:solidFill>
                <a:prstClr val="black">
                  <a:tint val="75000"/>
                </a:prstClr>
              </a:solidFill>
              <a:latin typeface="Arial" charset="0"/>
            </a:endParaRPr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3028952" y="4767264"/>
            <a:ext cx="3086100" cy="273844"/>
          </a:xfrm>
          <a:prstGeom prst="rect">
            <a:avLst/>
          </a:prstGeom>
        </p:spPr>
        <p:txBody>
          <a:bodyPr vert="horz" lIns="77916" tIns="38958" rIns="77916" bIns="38958" rtlCol="0" anchor="ctr"/>
          <a:lstStyle>
            <a:lvl1pPr algn="ctr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eaLnBrk="0" fontAlgn="base" hangingPunct="0">
              <a:spcBef>
                <a:spcPct val="50000"/>
              </a:spcBef>
              <a:spcAft>
                <a:spcPct val="0"/>
              </a:spcAft>
              <a:buClr>
                <a:srgbClr val="44546A"/>
              </a:buClr>
              <a:buFont typeface="Symbol" pitchFamily="18" charset="2"/>
              <a:buNone/>
            </a:pPr>
            <a:endParaRPr lang="nb-NO">
              <a:solidFill>
                <a:prstClr val="black">
                  <a:tint val="75000"/>
                </a:prstClr>
              </a:solidFill>
              <a:latin typeface="Arial" charset="0"/>
            </a:endParaRPr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6457950" y="4767264"/>
            <a:ext cx="2057400" cy="273844"/>
          </a:xfrm>
          <a:prstGeom prst="rect">
            <a:avLst/>
          </a:prstGeom>
        </p:spPr>
        <p:txBody>
          <a:bodyPr vert="horz" lIns="77916" tIns="38958" rIns="77916" bIns="38958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eaLnBrk="0" fontAlgn="base" hangingPunct="0">
              <a:spcBef>
                <a:spcPct val="50000"/>
              </a:spcBef>
              <a:spcAft>
                <a:spcPct val="0"/>
              </a:spcAft>
              <a:buClr>
                <a:srgbClr val="44546A"/>
              </a:buClr>
              <a:buFont typeface="Symbol" pitchFamily="18" charset="2"/>
              <a:buNone/>
            </a:pPr>
            <a:fld id="{1C4D0B95-3711-4744-9B0D-35971583D887}" type="slidenum">
              <a:rPr lang="nb-NO" smtClean="0">
                <a:solidFill>
                  <a:prstClr val="black">
                    <a:tint val="75000"/>
                  </a:prstClr>
                </a:solidFill>
                <a:latin typeface="Arial" charset="0"/>
              </a:rPr>
              <a:pPr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rgbClr val="44546A"/>
                </a:buClr>
                <a:buFont typeface="Symbol" pitchFamily="18" charset="2"/>
                <a:buNone/>
              </a:pPr>
              <a:t>‹#›</a:t>
            </a:fld>
            <a:endParaRPr lang="nb-NO">
              <a:solidFill>
                <a:prstClr val="black">
                  <a:tint val="75000"/>
                </a:prstClr>
              </a:solidFill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9296692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21" r:id="rId1"/>
    <p:sldLayoutId id="2147483922" r:id="rId2"/>
    <p:sldLayoutId id="2147483923" r:id="rId3"/>
    <p:sldLayoutId id="2147483924" r:id="rId4"/>
    <p:sldLayoutId id="2147483925" r:id="rId5"/>
    <p:sldLayoutId id="2147483926" r:id="rId6"/>
    <p:sldLayoutId id="2147483927" r:id="rId7"/>
    <p:sldLayoutId id="2147483928" r:id="rId8"/>
    <p:sldLayoutId id="2147483929" r:id="rId9"/>
    <p:sldLayoutId id="2147483930" r:id="rId10"/>
    <p:sldLayoutId id="2147483931" r:id="rId11"/>
  </p:sldLayoutIdLst>
  <p:timing>
    <p:tnLst>
      <p:par>
        <p:cTn id="1" dur="indefinite" restart="never" nodeType="tmRoot"/>
      </p:par>
    </p:tnLst>
  </p:timing>
  <p:txStyles>
    <p:titleStyle>
      <a:lvl1pPr algn="l" defTabSz="779163" rtl="0" eaLnBrk="1" latinLnBrk="0" hangingPunct="1">
        <a:lnSpc>
          <a:spcPct val="90000"/>
        </a:lnSpc>
        <a:spcBef>
          <a:spcPct val="0"/>
        </a:spcBef>
        <a:buNone/>
        <a:defRPr sz="37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94791" indent="-194791" algn="l" defTabSz="779163" rtl="0" eaLnBrk="1" latinLnBrk="0" hangingPunct="1">
        <a:lnSpc>
          <a:spcPct val="90000"/>
        </a:lnSpc>
        <a:spcBef>
          <a:spcPts val="852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84372" indent="-194791" algn="l" defTabSz="779163" rtl="0" eaLnBrk="1" latinLnBrk="0" hangingPunct="1">
        <a:lnSpc>
          <a:spcPct val="90000"/>
        </a:lnSpc>
        <a:spcBef>
          <a:spcPts val="426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973954" indent="-194791" algn="l" defTabSz="779163" rtl="0" eaLnBrk="1" latinLnBrk="0" hangingPunct="1">
        <a:lnSpc>
          <a:spcPct val="90000"/>
        </a:lnSpc>
        <a:spcBef>
          <a:spcPts val="426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363534" indent="-194791" algn="l" defTabSz="779163" rtl="0" eaLnBrk="1" latinLnBrk="0" hangingPunct="1">
        <a:lnSpc>
          <a:spcPct val="90000"/>
        </a:lnSpc>
        <a:spcBef>
          <a:spcPts val="426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753117" indent="-194791" algn="l" defTabSz="779163" rtl="0" eaLnBrk="1" latinLnBrk="0" hangingPunct="1">
        <a:lnSpc>
          <a:spcPct val="90000"/>
        </a:lnSpc>
        <a:spcBef>
          <a:spcPts val="426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2142698" indent="-194791" algn="l" defTabSz="779163" rtl="0" eaLnBrk="1" latinLnBrk="0" hangingPunct="1">
        <a:lnSpc>
          <a:spcPct val="90000"/>
        </a:lnSpc>
        <a:spcBef>
          <a:spcPts val="426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532280" indent="-194791" algn="l" defTabSz="779163" rtl="0" eaLnBrk="1" latinLnBrk="0" hangingPunct="1">
        <a:lnSpc>
          <a:spcPct val="90000"/>
        </a:lnSpc>
        <a:spcBef>
          <a:spcPts val="426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921861" indent="-194791" algn="l" defTabSz="779163" rtl="0" eaLnBrk="1" latinLnBrk="0" hangingPunct="1">
        <a:lnSpc>
          <a:spcPct val="90000"/>
        </a:lnSpc>
        <a:spcBef>
          <a:spcPts val="426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3311443" indent="-194791" algn="l" defTabSz="779163" rtl="0" eaLnBrk="1" latinLnBrk="0" hangingPunct="1">
        <a:lnSpc>
          <a:spcPct val="90000"/>
        </a:lnSpc>
        <a:spcBef>
          <a:spcPts val="426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779163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1pPr>
      <a:lvl2pPr marL="389582" algn="l" defTabSz="779163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779163" algn="l" defTabSz="779163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168745" algn="l" defTabSz="779163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58326" algn="l" defTabSz="779163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947908" algn="l" defTabSz="779163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337489" algn="l" defTabSz="779163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727071" algn="l" defTabSz="779163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3116652" algn="l" defTabSz="779163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tittel 1"/>
          <p:cNvSpPr>
            <a:spLocks noGrp="1"/>
          </p:cNvSpPr>
          <p:nvPr>
            <p:ph type="title"/>
          </p:nvPr>
        </p:nvSpPr>
        <p:spPr>
          <a:xfrm>
            <a:off x="628651" y="273844"/>
            <a:ext cx="7886700" cy="994172"/>
          </a:xfrm>
          <a:prstGeom prst="rect">
            <a:avLst/>
          </a:prstGeom>
        </p:spPr>
        <p:txBody>
          <a:bodyPr vert="horz" lIns="77925" tIns="38963" rIns="77925" bIns="38963" rtlCol="0" anchor="ctr">
            <a:normAutofit/>
          </a:bodyPr>
          <a:lstStyle/>
          <a:p>
            <a:r>
              <a:rPr lang="nb-NO" smtClean="0"/>
              <a:t>Klikk for å redigere tittelstil</a:t>
            </a:r>
            <a:endParaRPr lang="nb-NO"/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628651" y="1369219"/>
            <a:ext cx="7886700" cy="3263504"/>
          </a:xfrm>
          <a:prstGeom prst="rect">
            <a:avLst/>
          </a:prstGeom>
        </p:spPr>
        <p:txBody>
          <a:bodyPr vert="horz" lIns="77925" tIns="38963" rIns="77925" bIns="38963" rtlCol="0">
            <a:normAutofit/>
          </a:bodyPr>
          <a:lstStyle/>
          <a:p>
            <a:pPr lvl="0"/>
            <a:r>
              <a:rPr lang="nb-NO" smtClean="0"/>
              <a:t>Klikk for å redigere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  <a:p>
            <a:pPr lvl="3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nb-NO"/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2"/>
          </p:nvPr>
        </p:nvSpPr>
        <p:spPr>
          <a:xfrm>
            <a:off x="628650" y="4767263"/>
            <a:ext cx="2057400" cy="273844"/>
          </a:xfrm>
          <a:prstGeom prst="rect">
            <a:avLst/>
          </a:prstGeom>
        </p:spPr>
        <p:txBody>
          <a:bodyPr vert="horz" lIns="77925" tIns="38963" rIns="77925" bIns="38963" rtlCol="0" anchor="ctr"/>
          <a:lstStyle>
            <a:lvl1pPr algn="l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400" eaLnBrk="0" fontAlgn="base" hangingPunct="0">
              <a:spcBef>
                <a:spcPct val="50000"/>
              </a:spcBef>
              <a:spcAft>
                <a:spcPct val="0"/>
              </a:spcAft>
              <a:buClr>
                <a:srgbClr val="44546A"/>
              </a:buClr>
              <a:buFont typeface="Symbol" pitchFamily="18" charset="2"/>
              <a:buNone/>
            </a:pPr>
            <a:fld id="{57CDDEFD-23F0-42EB-B054-95271AF0C6FD}" type="datetimeFigureOut">
              <a:rPr lang="nb-NO" smtClean="0">
                <a:solidFill>
                  <a:prstClr val="black">
                    <a:tint val="75000"/>
                  </a:prstClr>
                </a:solidFill>
                <a:latin typeface="Arial" charset="0"/>
              </a:rPr>
              <a:pPr defTabSz="91440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rgbClr val="44546A"/>
                </a:buClr>
                <a:buFont typeface="Symbol" pitchFamily="18" charset="2"/>
                <a:buNone/>
              </a:pPr>
              <a:t>13.09.2015</a:t>
            </a:fld>
            <a:endParaRPr lang="nb-NO">
              <a:solidFill>
                <a:prstClr val="black">
                  <a:tint val="75000"/>
                </a:prstClr>
              </a:solidFill>
              <a:latin typeface="Arial" charset="0"/>
            </a:endParaRPr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3028951" y="4767263"/>
            <a:ext cx="3086100" cy="273844"/>
          </a:xfrm>
          <a:prstGeom prst="rect">
            <a:avLst/>
          </a:prstGeom>
        </p:spPr>
        <p:txBody>
          <a:bodyPr vert="horz" lIns="77925" tIns="38963" rIns="77925" bIns="38963" rtlCol="0" anchor="ctr"/>
          <a:lstStyle>
            <a:lvl1pPr algn="ctr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400" eaLnBrk="0" fontAlgn="base" hangingPunct="0">
              <a:spcBef>
                <a:spcPct val="50000"/>
              </a:spcBef>
              <a:spcAft>
                <a:spcPct val="0"/>
              </a:spcAft>
              <a:buClr>
                <a:srgbClr val="44546A"/>
              </a:buClr>
              <a:buFont typeface="Symbol" pitchFamily="18" charset="2"/>
              <a:buNone/>
            </a:pPr>
            <a:endParaRPr lang="nb-NO">
              <a:solidFill>
                <a:prstClr val="black">
                  <a:tint val="75000"/>
                </a:prstClr>
              </a:solidFill>
              <a:latin typeface="Arial" charset="0"/>
            </a:endParaRPr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6457950" y="4767263"/>
            <a:ext cx="2057400" cy="273844"/>
          </a:xfrm>
          <a:prstGeom prst="rect">
            <a:avLst/>
          </a:prstGeom>
        </p:spPr>
        <p:txBody>
          <a:bodyPr vert="horz" lIns="77925" tIns="38963" rIns="77925" bIns="38963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400" eaLnBrk="0" fontAlgn="base" hangingPunct="0">
              <a:spcBef>
                <a:spcPct val="50000"/>
              </a:spcBef>
              <a:spcAft>
                <a:spcPct val="0"/>
              </a:spcAft>
              <a:buClr>
                <a:srgbClr val="44546A"/>
              </a:buClr>
              <a:buFont typeface="Symbol" pitchFamily="18" charset="2"/>
              <a:buNone/>
            </a:pPr>
            <a:fld id="{1C4D0B95-3711-4744-9B0D-35971583D887}" type="slidenum">
              <a:rPr lang="nb-NO" smtClean="0">
                <a:solidFill>
                  <a:prstClr val="black">
                    <a:tint val="75000"/>
                  </a:prstClr>
                </a:solidFill>
                <a:latin typeface="Arial" charset="0"/>
              </a:rPr>
              <a:pPr defTabSz="91440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rgbClr val="44546A"/>
                </a:buClr>
                <a:buFont typeface="Symbol" pitchFamily="18" charset="2"/>
                <a:buNone/>
              </a:pPr>
              <a:t>‹#›</a:t>
            </a:fld>
            <a:endParaRPr lang="nb-NO">
              <a:solidFill>
                <a:prstClr val="black">
                  <a:tint val="75000"/>
                </a:prstClr>
              </a:solidFill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122182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33" r:id="rId1"/>
    <p:sldLayoutId id="2147483934" r:id="rId2"/>
    <p:sldLayoutId id="2147483935" r:id="rId3"/>
    <p:sldLayoutId id="2147483936" r:id="rId4"/>
    <p:sldLayoutId id="2147483937" r:id="rId5"/>
    <p:sldLayoutId id="2147483938" r:id="rId6"/>
    <p:sldLayoutId id="2147483939" r:id="rId7"/>
    <p:sldLayoutId id="2147483940" r:id="rId8"/>
    <p:sldLayoutId id="2147483941" r:id="rId9"/>
    <p:sldLayoutId id="2147483942" r:id="rId10"/>
    <p:sldLayoutId id="2147483943" r:id="rId11"/>
  </p:sldLayoutIdLst>
  <p:timing>
    <p:tnLst>
      <p:par>
        <p:cTn id="1" dur="indefinite" restart="never" nodeType="tmRoot"/>
      </p:par>
    </p:tnLst>
  </p:timing>
  <p:txStyles>
    <p:titleStyle>
      <a:lvl1pPr algn="l" defTabSz="779252" rtl="0" eaLnBrk="1" latinLnBrk="0" hangingPunct="1">
        <a:lnSpc>
          <a:spcPct val="90000"/>
        </a:lnSpc>
        <a:spcBef>
          <a:spcPct val="0"/>
        </a:spcBef>
        <a:buNone/>
        <a:defRPr sz="37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94813" indent="-194813" algn="l" defTabSz="779252" rtl="0" eaLnBrk="1" latinLnBrk="0" hangingPunct="1">
        <a:lnSpc>
          <a:spcPct val="90000"/>
        </a:lnSpc>
        <a:spcBef>
          <a:spcPts val="852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84439" indent="-194813" algn="l" defTabSz="779252" rtl="0" eaLnBrk="1" latinLnBrk="0" hangingPunct="1">
        <a:lnSpc>
          <a:spcPct val="90000"/>
        </a:lnSpc>
        <a:spcBef>
          <a:spcPts val="426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974065" indent="-194813" algn="l" defTabSz="779252" rtl="0" eaLnBrk="1" latinLnBrk="0" hangingPunct="1">
        <a:lnSpc>
          <a:spcPct val="90000"/>
        </a:lnSpc>
        <a:spcBef>
          <a:spcPts val="426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363690" indent="-194813" algn="l" defTabSz="779252" rtl="0" eaLnBrk="1" latinLnBrk="0" hangingPunct="1">
        <a:lnSpc>
          <a:spcPct val="90000"/>
        </a:lnSpc>
        <a:spcBef>
          <a:spcPts val="426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753316" indent="-194813" algn="l" defTabSz="779252" rtl="0" eaLnBrk="1" latinLnBrk="0" hangingPunct="1">
        <a:lnSpc>
          <a:spcPct val="90000"/>
        </a:lnSpc>
        <a:spcBef>
          <a:spcPts val="426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2142942" indent="-194813" algn="l" defTabSz="779252" rtl="0" eaLnBrk="1" latinLnBrk="0" hangingPunct="1">
        <a:lnSpc>
          <a:spcPct val="90000"/>
        </a:lnSpc>
        <a:spcBef>
          <a:spcPts val="426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532568" indent="-194813" algn="l" defTabSz="779252" rtl="0" eaLnBrk="1" latinLnBrk="0" hangingPunct="1">
        <a:lnSpc>
          <a:spcPct val="90000"/>
        </a:lnSpc>
        <a:spcBef>
          <a:spcPts val="426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922194" indent="-194813" algn="l" defTabSz="779252" rtl="0" eaLnBrk="1" latinLnBrk="0" hangingPunct="1">
        <a:lnSpc>
          <a:spcPct val="90000"/>
        </a:lnSpc>
        <a:spcBef>
          <a:spcPts val="426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3311820" indent="-194813" algn="l" defTabSz="779252" rtl="0" eaLnBrk="1" latinLnBrk="0" hangingPunct="1">
        <a:lnSpc>
          <a:spcPct val="90000"/>
        </a:lnSpc>
        <a:spcBef>
          <a:spcPts val="426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77925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1pPr>
      <a:lvl2pPr marL="389626" algn="l" defTabSz="77925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779252" algn="l" defTabSz="77925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168878" algn="l" defTabSz="77925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58503" algn="l" defTabSz="77925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948129" algn="l" defTabSz="77925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337755" algn="l" defTabSz="77925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727381" algn="l" defTabSz="77925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3117007" algn="l" defTabSz="77925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tittel 1"/>
          <p:cNvSpPr>
            <a:spLocks noGrp="1"/>
          </p:cNvSpPr>
          <p:nvPr>
            <p:ph type="title"/>
          </p:nvPr>
        </p:nvSpPr>
        <p:spPr>
          <a:xfrm>
            <a:off x="628651" y="273844"/>
            <a:ext cx="7886700" cy="994172"/>
          </a:xfrm>
          <a:prstGeom prst="rect">
            <a:avLst/>
          </a:prstGeom>
        </p:spPr>
        <p:txBody>
          <a:bodyPr vert="horz" lIns="77925" tIns="38963" rIns="77925" bIns="38963" rtlCol="0" anchor="ctr">
            <a:normAutofit/>
          </a:bodyPr>
          <a:lstStyle/>
          <a:p>
            <a:r>
              <a:rPr lang="nb-NO" smtClean="0"/>
              <a:t>Klikk for å redigere tittelstil</a:t>
            </a:r>
            <a:endParaRPr lang="nb-NO"/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628651" y="1369219"/>
            <a:ext cx="7886700" cy="3263504"/>
          </a:xfrm>
          <a:prstGeom prst="rect">
            <a:avLst/>
          </a:prstGeom>
        </p:spPr>
        <p:txBody>
          <a:bodyPr vert="horz" lIns="77925" tIns="38963" rIns="77925" bIns="38963" rtlCol="0">
            <a:normAutofit/>
          </a:bodyPr>
          <a:lstStyle/>
          <a:p>
            <a:pPr lvl="0"/>
            <a:r>
              <a:rPr lang="nb-NO" smtClean="0"/>
              <a:t>Klikk for å redigere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  <a:p>
            <a:pPr lvl="3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nb-NO"/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2"/>
          </p:nvPr>
        </p:nvSpPr>
        <p:spPr>
          <a:xfrm>
            <a:off x="628650" y="4767263"/>
            <a:ext cx="2057400" cy="273844"/>
          </a:xfrm>
          <a:prstGeom prst="rect">
            <a:avLst/>
          </a:prstGeom>
        </p:spPr>
        <p:txBody>
          <a:bodyPr vert="horz" lIns="77925" tIns="38963" rIns="77925" bIns="38963" rtlCol="0" anchor="ctr"/>
          <a:lstStyle>
            <a:lvl1pPr algn="l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400" eaLnBrk="0" fontAlgn="base" hangingPunct="0">
              <a:spcBef>
                <a:spcPct val="50000"/>
              </a:spcBef>
              <a:spcAft>
                <a:spcPct val="0"/>
              </a:spcAft>
              <a:buClr>
                <a:srgbClr val="44546A"/>
              </a:buClr>
              <a:buFont typeface="Symbol" pitchFamily="18" charset="2"/>
              <a:buNone/>
            </a:pPr>
            <a:fld id="{57CDDEFD-23F0-42EB-B054-95271AF0C6FD}" type="datetimeFigureOut">
              <a:rPr lang="nb-NO" smtClean="0">
                <a:solidFill>
                  <a:prstClr val="black">
                    <a:tint val="75000"/>
                  </a:prstClr>
                </a:solidFill>
                <a:latin typeface="Arial" charset="0"/>
              </a:rPr>
              <a:pPr defTabSz="91440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rgbClr val="44546A"/>
                </a:buClr>
                <a:buFont typeface="Symbol" pitchFamily="18" charset="2"/>
                <a:buNone/>
              </a:pPr>
              <a:t>13.09.2015</a:t>
            </a:fld>
            <a:endParaRPr lang="nb-NO">
              <a:solidFill>
                <a:prstClr val="black">
                  <a:tint val="75000"/>
                </a:prstClr>
              </a:solidFill>
              <a:latin typeface="Arial" charset="0"/>
            </a:endParaRPr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3028951" y="4767263"/>
            <a:ext cx="3086100" cy="273844"/>
          </a:xfrm>
          <a:prstGeom prst="rect">
            <a:avLst/>
          </a:prstGeom>
        </p:spPr>
        <p:txBody>
          <a:bodyPr vert="horz" lIns="77925" tIns="38963" rIns="77925" bIns="38963" rtlCol="0" anchor="ctr"/>
          <a:lstStyle>
            <a:lvl1pPr algn="ctr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400" eaLnBrk="0" fontAlgn="base" hangingPunct="0">
              <a:spcBef>
                <a:spcPct val="50000"/>
              </a:spcBef>
              <a:spcAft>
                <a:spcPct val="0"/>
              </a:spcAft>
              <a:buClr>
                <a:srgbClr val="44546A"/>
              </a:buClr>
              <a:buFont typeface="Symbol" pitchFamily="18" charset="2"/>
              <a:buNone/>
            </a:pPr>
            <a:endParaRPr lang="nb-NO">
              <a:solidFill>
                <a:prstClr val="black">
                  <a:tint val="75000"/>
                </a:prstClr>
              </a:solidFill>
              <a:latin typeface="Arial" charset="0"/>
            </a:endParaRPr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6457950" y="4767263"/>
            <a:ext cx="2057400" cy="273844"/>
          </a:xfrm>
          <a:prstGeom prst="rect">
            <a:avLst/>
          </a:prstGeom>
        </p:spPr>
        <p:txBody>
          <a:bodyPr vert="horz" lIns="77925" tIns="38963" rIns="77925" bIns="38963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400" eaLnBrk="0" fontAlgn="base" hangingPunct="0">
              <a:spcBef>
                <a:spcPct val="50000"/>
              </a:spcBef>
              <a:spcAft>
                <a:spcPct val="0"/>
              </a:spcAft>
              <a:buClr>
                <a:srgbClr val="44546A"/>
              </a:buClr>
              <a:buFont typeface="Symbol" pitchFamily="18" charset="2"/>
              <a:buNone/>
            </a:pPr>
            <a:fld id="{1C4D0B95-3711-4744-9B0D-35971583D887}" type="slidenum">
              <a:rPr lang="nb-NO" smtClean="0">
                <a:solidFill>
                  <a:prstClr val="black">
                    <a:tint val="75000"/>
                  </a:prstClr>
                </a:solidFill>
                <a:latin typeface="Arial" charset="0"/>
              </a:rPr>
              <a:pPr defTabSz="91440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rgbClr val="44546A"/>
                </a:buClr>
                <a:buFont typeface="Symbol" pitchFamily="18" charset="2"/>
                <a:buNone/>
              </a:pPr>
              <a:t>‹#›</a:t>
            </a:fld>
            <a:endParaRPr lang="nb-NO">
              <a:solidFill>
                <a:prstClr val="black">
                  <a:tint val="75000"/>
                </a:prstClr>
              </a:solidFill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122182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45" r:id="rId1"/>
    <p:sldLayoutId id="2147483946" r:id="rId2"/>
    <p:sldLayoutId id="2147483947" r:id="rId3"/>
    <p:sldLayoutId id="2147483948" r:id="rId4"/>
    <p:sldLayoutId id="2147483949" r:id="rId5"/>
    <p:sldLayoutId id="2147483950" r:id="rId6"/>
    <p:sldLayoutId id="2147483951" r:id="rId7"/>
    <p:sldLayoutId id="2147483952" r:id="rId8"/>
    <p:sldLayoutId id="2147483953" r:id="rId9"/>
    <p:sldLayoutId id="2147483954" r:id="rId10"/>
    <p:sldLayoutId id="2147483955" r:id="rId11"/>
  </p:sldLayoutIdLst>
  <p:timing>
    <p:tnLst>
      <p:par>
        <p:cTn id="1" dur="indefinite" restart="never" nodeType="tmRoot"/>
      </p:par>
    </p:tnLst>
  </p:timing>
  <p:txStyles>
    <p:titleStyle>
      <a:lvl1pPr algn="l" defTabSz="779252" rtl="0" eaLnBrk="1" latinLnBrk="0" hangingPunct="1">
        <a:lnSpc>
          <a:spcPct val="90000"/>
        </a:lnSpc>
        <a:spcBef>
          <a:spcPct val="0"/>
        </a:spcBef>
        <a:buNone/>
        <a:defRPr sz="37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94813" indent="-194813" algn="l" defTabSz="779252" rtl="0" eaLnBrk="1" latinLnBrk="0" hangingPunct="1">
        <a:lnSpc>
          <a:spcPct val="90000"/>
        </a:lnSpc>
        <a:spcBef>
          <a:spcPts val="852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84439" indent="-194813" algn="l" defTabSz="779252" rtl="0" eaLnBrk="1" latinLnBrk="0" hangingPunct="1">
        <a:lnSpc>
          <a:spcPct val="90000"/>
        </a:lnSpc>
        <a:spcBef>
          <a:spcPts val="426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974065" indent="-194813" algn="l" defTabSz="779252" rtl="0" eaLnBrk="1" latinLnBrk="0" hangingPunct="1">
        <a:lnSpc>
          <a:spcPct val="90000"/>
        </a:lnSpc>
        <a:spcBef>
          <a:spcPts val="426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363690" indent="-194813" algn="l" defTabSz="779252" rtl="0" eaLnBrk="1" latinLnBrk="0" hangingPunct="1">
        <a:lnSpc>
          <a:spcPct val="90000"/>
        </a:lnSpc>
        <a:spcBef>
          <a:spcPts val="426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753316" indent="-194813" algn="l" defTabSz="779252" rtl="0" eaLnBrk="1" latinLnBrk="0" hangingPunct="1">
        <a:lnSpc>
          <a:spcPct val="90000"/>
        </a:lnSpc>
        <a:spcBef>
          <a:spcPts val="426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2142942" indent="-194813" algn="l" defTabSz="779252" rtl="0" eaLnBrk="1" latinLnBrk="0" hangingPunct="1">
        <a:lnSpc>
          <a:spcPct val="90000"/>
        </a:lnSpc>
        <a:spcBef>
          <a:spcPts val="426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532568" indent="-194813" algn="l" defTabSz="779252" rtl="0" eaLnBrk="1" latinLnBrk="0" hangingPunct="1">
        <a:lnSpc>
          <a:spcPct val="90000"/>
        </a:lnSpc>
        <a:spcBef>
          <a:spcPts val="426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922194" indent="-194813" algn="l" defTabSz="779252" rtl="0" eaLnBrk="1" latinLnBrk="0" hangingPunct="1">
        <a:lnSpc>
          <a:spcPct val="90000"/>
        </a:lnSpc>
        <a:spcBef>
          <a:spcPts val="426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3311820" indent="-194813" algn="l" defTabSz="779252" rtl="0" eaLnBrk="1" latinLnBrk="0" hangingPunct="1">
        <a:lnSpc>
          <a:spcPct val="90000"/>
        </a:lnSpc>
        <a:spcBef>
          <a:spcPts val="426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77925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1pPr>
      <a:lvl2pPr marL="389626" algn="l" defTabSz="77925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779252" algn="l" defTabSz="77925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168878" algn="l" defTabSz="77925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58503" algn="l" defTabSz="77925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948129" algn="l" defTabSz="77925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337755" algn="l" defTabSz="77925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727381" algn="l" defTabSz="77925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3117007" algn="l" defTabSz="77925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tittel 1"/>
          <p:cNvSpPr>
            <a:spLocks noGrp="1"/>
          </p:cNvSpPr>
          <p:nvPr>
            <p:ph type="title"/>
          </p:nvPr>
        </p:nvSpPr>
        <p:spPr>
          <a:xfrm>
            <a:off x="628652" y="273844"/>
            <a:ext cx="7886700" cy="994172"/>
          </a:xfrm>
          <a:prstGeom prst="rect">
            <a:avLst/>
          </a:prstGeom>
        </p:spPr>
        <p:txBody>
          <a:bodyPr vert="horz" lIns="77916" tIns="38958" rIns="77916" bIns="38958" rtlCol="0" anchor="ctr">
            <a:normAutofit/>
          </a:bodyPr>
          <a:lstStyle/>
          <a:p>
            <a:r>
              <a:rPr lang="nb-NO" smtClean="0"/>
              <a:t>Klikk for å redigere tittelstil</a:t>
            </a:r>
            <a:endParaRPr lang="nb-NO"/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628652" y="1369219"/>
            <a:ext cx="7886700" cy="3263504"/>
          </a:xfrm>
          <a:prstGeom prst="rect">
            <a:avLst/>
          </a:prstGeom>
        </p:spPr>
        <p:txBody>
          <a:bodyPr vert="horz" lIns="77916" tIns="38958" rIns="77916" bIns="38958" rtlCol="0">
            <a:normAutofit/>
          </a:bodyPr>
          <a:lstStyle/>
          <a:p>
            <a:pPr lvl="0"/>
            <a:r>
              <a:rPr lang="nb-NO" smtClean="0"/>
              <a:t>Klikk for å redigere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  <a:p>
            <a:pPr lvl="3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nb-NO"/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2"/>
          </p:nvPr>
        </p:nvSpPr>
        <p:spPr>
          <a:xfrm>
            <a:off x="628650" y="4767264"/>
            <a:ext cx="2057400" cy="273844"/>
          </a:xfrm>
          <a:prstGeom prst="rect">
            <a:avLst/>
          </a:prstGeom>
        </p:spPr>
        <p:txBody>
          <a:bodyPr vert="horz" lIns="77916" tIns="38958" rIns="77916" bIns="38958" rtlCol="0" anchor="ctr"/>
          <a:lstStyle>
            <a:lvl1pPr algn="l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eaLnBrk="0" fontAlgn="base" hangingPunct="0">
              <a:spcBef>
                <a:spcPct val="50000"/>
              </a:spcBef>
              <a:spcAft>
                <a:spcPct val="0"/>
              </a:spcAft>
              <a:buClr>
                <a:srgbClr val="44546A"/>
              </a:buClr>
              <a:buFont typeface="Symbol" pitchFamily="18" charset="2"/>
              <a:buNone/>
            </a:pPr>
            <a:fld id="{57CDDEFD-23F0-42EB-B054-95271AF0C6FD}" type="datetimeFigureOut">
              <a:rPr lang="nb-NO" smtClean="0">
                <a:solidFill>
                  <a:prstClr val="black">
                    <a:tint val="75000"/>
                  </a:prstClr>
                </a:solidFill>
                <a:latin typeface="Arial" charset="0"/>
              </a:rPr>
              <a:pPr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rgbClr val="44546A"/>
                </a:buClr>
                <a:buFont typeface="Symbol" pitchFamily="18" charset="2"/>
                <a:buNone/>
              </a:pPr>
              <a:t>13.09.2015</a:t>
            </a:fld>
            <a:endParaRPr lang="nb-NO">
              <a:solidFill>
                <a:prstClr val="black">
                  <a:tint val="75000"/>
                </a:prstClr>
              </a:solidFill>
              <a:latin typeface="Arial" charset="0"/>
            </a:endParaRPr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3028952" y="4767264"/>
            <a:ext cx="3086100" cy="273844"/>
          </a:xfrm>
          <a:prstGeom prst="rect">
            <a:avLst/>
          </a:prstGeom>
        </p:spPr>
        <p:txBody>
          <a:bodyPr vert="horz" lIns="77916" tIns="38958" rIns="77916" bIns="38958" rtlCol="0" anchor="ctr"/>
          <a:lstStyle>
            <a:lvl1pPr algn="ctr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eaLnBrk="0" fontAlgn="base" hangingPunct="0">
              <a:spcBef>
                <a:spcPct val="50000"/>
              </a:spcBef>
              <a:spcAft>
                <a:spcPct val="0"/>
              </a:spcAft>
              <a:buClr>
                <a:srgbClr val="44546A"/>
              </a:buClr>
              <a:buFont typeface="Symbol" pitchFamily="18" charset="2"/>
              <a:buNone/>
            </a:pPr>
            <a:endParaRPr lang="nb-NO">
              <a:solidFill>
                <a:prstClr val="black">
                  <a:tint val="75000"/>
                </a:prstClr>
              </a:solidFill>
              <a:latin typeface="Arial" charset="0"/>
            </a:endParaRPr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6457950" y="4767264"/>
            <a:ext cx="2057400" cy="273844"/>
          </a:xfrm>
          <a:prstGeom prst="rect">
            <a:avLst/>
          </a:prstGeom>
        </p:spPr>
        <p:txBody>
          <a:bodyPr vert="horz" lIns="77916" tIns="38958" rIns="77916" bIns="38958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eaLnBrk="0" fontAlgn="base" hangingPunct="0">
              <a:spcBef>
                <a:spcPct val="50000"/>
              </a:spcBef>
              <a:spcAft>
                <a:spcPct val="0"/>
              </a:spcAft>
              <a:buClr>
                <a:srgbClr val="44546A"/>
              </a:buClr>
              <a:buFont typeface="Symbol" pitchFamily="18" charset="2"/>
              <a:buNone/>
            </a:pPr>
            <a:fld id="{1C4D0B95-3711-4744-9B0D-35971583D887}" type="slidenum">
              <a:rPr lang="nb-NO" smtClean="0">
                <a:solidFill>
                  <a:prstClr val="black">
                    <a:tint val="75000"/>
                  </a:prstClr>
                </a:solidFill>
                <a:latin typeface="Arial" charset="0"/>
              </a:rPr>
              <a:pPr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rgbClr val="44546A"/>
                </a:buClr>
                <a:buFont typeface="Symbol" pitchFamily="18" charset="2"/>
                <a:buNone/>
              </a:pPr>
              <a:t>‹#›</a:t>
            </a:fld>
            <a:endParaRPr lang="nb-NO">
              <a:solidFill>
                <a:prstClr val="black">
                  <a:tint val="75000"/>
                </a:prstClr>
              </a:solidFill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9296692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57" r:id="rId1"/>
    <p:sldLayoutId id="2147483958" r:id="rId2"/>
    <p:sldLayoutId id="2147483959" r:id="rId3"/>
    <p:sldLayoutId id="2147483960" r:id="rId4"/>
    <p:sldLayoutId id="2147483961" r:id="rId5"/>
    <p:sldLayoutId id="2147483962" r:id="rId6"/>
    <p:sldLayoutId id="2147483963" r:id="rId7"/>
    <p:sldLayoutId id="2147483964" r:id="rId8"/>
    <p:sldLayoutId id="2147483965" r:id="rId9"/>
    <p:sldLayoutId id="2147483966" r:id="rId10"/>
    <p:sldLayoutId id="2147483967" r:id="rId11"/>
  </p:sldLayoutIdLst>
  <p:timing>
    <p:tnLst>
      <p:par>
        <p:cTn id="1" dur="indefinite" restart="never" nodeType="tmRoot"/>
      </p:par>
    </p:tnLst>
  </p:timing>
  <p:txStyles>
    <p:titleStyle>
      <a:lvl1pPr algn="l" defTabSz="779163" rtl="0" eaLnBrk="1" latinLnBrk="0" hangingPunct="1">
        <a:lnSpc>
          <a:spcPct val="90000"/>
        </a:lnSpc>
        <a:spcBef>
          <a:spcPct val="0"/>
        </a:spcBef>
        <a:buNone/>
        <a:defRPr sz="37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94791" indent="-194791" algn="l" defTabSz="779163" rtl="0" eaLnBrk="1" latinLnBrk="0" hangingPunct="1">
        <a:lnSpc>
          <a:spcPct val="90000"/>
        </a:lnSpc>
        <a:spcBef>
          <a:spcPts val="852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84372" indent="-194791" algn="l" defTabSz="779163" rtl="0" eaLnBrk="1" latinLnBrk="0" hangingPunct="1">
        <a:lnSpc>
          <a:spcPct val="90000"/>
        </a:lnSpc>
        <a:spcBef>
          <a:spcPts val="426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973954" indent="-194791" algn="l" defTabSz="779163" rtl="0" eaLnBrk="1" latinLnBrk="0" hangingPunct="1">
        <a:lnSpc>
          <a:spcPct val="90000"/>
        </a:lnSpc>
        <a:spcBef>
          <a:spcPts val="426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363534" indent="-194791" algn="l" defTabSz="779163" rtl="0" eaLnBrk="1" latinLnBrk="0" hangingPunct="1">
        <a:lnSpc>
          <a:spcPct val="90000"/>
        </a:lnSpc>
        <a:spcBef>
          <a:spcPts val="426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753117" indent="-194791" algn="l" defTabSz="779163" rtl="0" eaLnBrk="1" latinLnBrk="0" hangingPunct="1">
        <a:lnSpc>
          <a:spcPct val="90000"/>
        </a:lnSpc>
        <a:spcBef>
          <a:spcPts val="426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2142698" indent="-194791" algn="l" defTabSz="779163" rtl="0" eaLnBrk="1" latinLnBrk="0" hangingPunct="1">
        <a:lnSpc>
          <a:spcPct val="90000"/>
        </a:lnSpc>
        <a:spcBef>
          <a:spcPts val="426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532280" indent="-194791" algn="l" defTabSz="779163" rtl="0" eaLnBrk="1" latinLnBrk="0" hangingPunct="1">
        <a:lnSpc>
          <a:spcPct val="90000"/>
        </a:lnSpc>
        <a:spcBef>
          <a:spcPts val="426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921861" indent="-194791" algn="l" defTabSz="779163" rtl="0" eaLnBrk="1" latinLnBrk="0" hangingPunct="1">
        <a:lnSpc>
          <a:spcPct val="90000"/>
        </a:lnSpc>
        <a:spcBef>
          <a:spcPts val="426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3311443" indent="-194791" algn="l" defTabSz="779163" rtl="0" eaLnBrk="1" latinLnBrk="0" hangingPunct="1">
        <a:lnSpc>
          <a:spcPct val="90000"/>
        </a:lnSpc>
        <a:spcBef>
          <a:spcPts val="426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779163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1pPr>
      <a:lvl2pPr marL="389582" algn="l" defTabSz="779163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779163" algn="l" defTabSz="779163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168745" algn="l" defTabSz="779163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58326" algn="l" defTabSz="779163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947908" algn="l" defTabSz="779163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337489" algn="l" defTabSz="779163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727071" algn="l" defTabSz="779163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3116652" algn="l" defTabSz="779163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tittel 1"/>
          <p:cNvSpPr>
            <a:spLocks noGrp="1"/>
          </p:cNvSpPr>
          <p:nvPr>
            <p:ph type="title"/>
          </p:nvPr>
        </p:nvSpPr>
        <p:spPr>
          <a:xfrm>
            <a:off x="628651" y="273844"/>
            <a:ext cx="7886700" cy="994172"/>
          </a:xfrm>
          <a:prstGeom prst="rect">
            <a:avLst/>
          </a:prstGeom>
        </p:spPr>
        <p:txBody>
          <a:bodyPr vert="horz" lIns="77925" tIns="38963" rIns="77925" bIns="38963" rtlCol="0" anchor="ctr">
            <a:normAutofit/>
          </a:bodyPr>
          <a:lstStyle/>
          <a:p>
            <a:r>
              <a:rPr lang="nb-NO" smtClean="0"/>
              <a:t>Klikk for å redigere tittelstil</a:t>
            </a:r>
            <a:endParaRPr lang="nb-NO"/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628651" y="1369219"/>
            <a:ext cx="7886700" cy="3263504"/>
          </a:xfrm>
          <a:prstGeom prst="rect">
            <a:avLst/>
          </a:prstGeom>
        </p:spPr>
        <p:txBody>
          <a:bodyPr vert="horz" lIns="77925" tIns="38963" rIns="77925" bIns="38963" rtlCol="0">
            <a:normAutofit/>
          </a:bodyPr>
          <a:lstStyle/>
          <a:p>
            <a:pPr lvl="0"/>
            <a:r>
              <a:rPr lang="nb-NO" smtClean="0"/>
              <a:t>Klikk for å redigere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  <a:p>
            <a:pPr lvl="3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nb-NO"/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2"/>
          </p:nvPr>
        </p:nvSpPr>
        <p:spPr>
          <a:xfrm>
            <a:off x="628650" y="4767263"/>
            <a:ext cx="2057400" cy="273844"/>
          </a:xfrm>
          <a:prstGeom prst="rect">
            <a:avLst/>
          </a:prstGeom>
        </p:spPr>
        <p:txBody>
          <a:bodyPr vert="horz" lIns="77925" tIns="38963" rIns="77925" bIns="38963" rtlCol="0" anchor="ctr"/>
          <a:lstStyle>
            <a:lvl1pPr algn="l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400" eaLnBrk="0" fontAlgn="base" hangingPunct="0">
              <a:spcBef>
                <a:spcPct val="50000"/>
              </a:spcBef>
              <a:spcAft>
                <a:spcPct val="0"/>
              </a:spcAft>
              <a:buClr>
                <a:srgbClr val="44546A"/>
              </a:buClr>
              <a:buFont typeface="Symbol" pitchFamily="18" charset="2"/>
              <a:buNone/>
            </a:pPr>
            <a:fld id="{57CDDEFD-23F0-42EB-B054-95271AF0C6FD}" type="datetimeFigureOut">
              <a:rPr lang="nb-NO" smtClean="0">
                <a:solidFill>
                  <a:prstClr val="black">
                    <a:tint val="75000"/>
                  </a:prstClr>
                </a:solidFill>
                <a:latin typeface="Arial" charset="0"/>
              </a:rPr>
              <a:pPr defTabSz="91440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rgbClr val="44546A"/>
                </a:buClr>
                <a:buFont typeface="Symbol" pitchFamily="18" charset="2"/>
                <a:buNone/>
              </a:pPr>
              <a:t>13.09.2015</a:t>
            </a:fld>
            <a:endParaRPr lang="nb-NO">
              <a:solidFill>
                <a:prstClr val="black">
                  <a:tint val="75000"/>
                </a:prstClr>
              </a:solidFill>
              <a:latin typeface="Arial" charset="0"/>
            </a:endParaRPr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3028951" y="4767263"/>
            <a:ext cx="3086100" cy="273844"/>
          </a:xfrm>
          <a:prstGeom prst="rect">
            <a:avLst/>
          </a:prstGeom>
        </p:spPr>
        <p:txBody>
          <a:bodyPr vert="horz" lIns="77925" tIns="38963" rIns="77925" bIns="38963" rtlCol="0" anchor="ctr"/>
          <a:lstStyle>
            <a:lvl1pPr algn="ctr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400" eaLnBrk="0" fontAlgn="base" hangingPunct="0">
              <a:spcBef>
                <a:spcPct val="50000"/>
              </a:spcBef>
              <a:spcAft>
                <a:spcPct val="0"/>
              </a:spcAft>
              <a:buClr>
                <a:srgbClr val="44546A"/>
              </a:buClr>
              <a:buFont typeface="Symbol" pitchFamily="18" charset="2"/>
              <a:buNone/>
            </a:pPr>
            <a:endParaRPr lang="nb-NO">
              <a:solidFill>
                <a:prstClr val="black">
                  <a:tint val="75000"/>
                </a:prstClr>
              </a:solidFill>
              <a:latin typeface="Arial" charset="0"/>
            </a:endParaRPr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6457950" y="4767263"/>
            <a:ext cx="2057400" cy="273844"/>
          </a:xfrm>
          <a:prstGeom prst="rect">
            <a:avLst/>
          </a:prstGeom>
        </p:spPr>
        <p:txBody>
          <a:bodyPr vert="horz" lIns="77925" tIns="38963" rIns="77925" bIns="38963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400" eaLnBrk="0" fontAlgn="base" hangingPunct="0">
              <a:spcBef>
                <a:spcPct val="50000"/>
              </a:spcBef>
              <a:spcAft>
                <a:spcPct val="0"/>
              </a:spcAft>
              <a:buClr>
                <a:srgbClr val="44546A"/>
              </a:buClr>
              <a:buFont typeface="Symbol" pitchFamily="18" charset="2"/>
              <a:buNone/>
            </a:pPr>
            <a:fld id="{1C4D0B95-3711-4744-9B0D-35971583D887}" type="slidenum">
              <a:rPr lang="nb-NO" smtClean="0">
                <a:solidFill>
                  <a:prstClr val="black">
                    <a:tint val="75000"/>
                  </a:prstClr>
                </a:solidFill>
                <a:latin typeface="Arial" charset="0"/>
              </a:rPr>
              <a:pPr defTabSz="91440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rgbClr val="44546A"/>
                </a:buClr>
                <a:buFont typeface="Symbol" pitchFamily="18" charset="2"/>
                <a:buNone/>
              </a:pPr>
              <a:t>‹#›</a:t>
            </a:fld>
            <a:endParaRPr lang="nb-NO">
              <a:solidFill>
                <a:prstClr val="black">
                  <a:tint val="75000"/>
                </a:prstClr>
              </a:solidFill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122182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69" r:id="rId1"/>
    <p:sldLayoutId id="2147483970" r:id="rId2"/>
    <p:sldLayoutId id="2147483971" r:id="rId3"/>
    <p:sldLayoutId id="2147483972" r:id="rId4"/>
    <p:sldLayoutId id="2147483973" r:id="rId5"/>
    <p:sldLayoutId id="2147483974" r:id="rId6"/>
    <p:sldLayoutId id="2147483975" r:id="rId7"/>
    <p:sldLayoutId id="2147483976" r:id="rId8"/>
    <p:sldLayoutId id="2147483977" r:id="rId9"/>
    <p:sldLayoutId id="2147483978" r:id="rId10"/>
    <p:sldLayoutId id="2147483979" r:id="rId11"/>
  </p:sldLayoutIdLst>
  <p:timing>
    <p:tnLst>
      <p:par>
        <p:cTn id="1" dur="indefinite" restart="never" nodeType="tmRoot"/>
      </p:par>
    </p:tnLst>
  </p:timing>
  <p:txStyles>
    <p:titleStyle>
      <a:lvl1pPr algn="l" defTabSz="779252" rtl="0" eaLnBrk="1" latinLnBrk="0" hangingPunct="1">
        <a:lnSpc>
          <a:spcPct val="90000"/>
        </a:lnSpc>
        <a:spcBef>
          <a:spcPct val="0"/>
        </a:spcBef>
        <a:buNone/>
        <a:defRPr sz="37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94813" indent="-194813" algn="l" defTabSz="779252" rtl="0" eaLnBrk="1" latinLnBrk="0" hangingPunct="1">
        <a:lnSpc>
          <a:spcPct val="90000"/>
        </a:lnSpc>
        <a:spcBef>
          <a:spcPts val="852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84439" indent="-194813" algn="l" defTabSz="779252" rtl="0" eaLnBrk="1" latinLnBrk="0" hangingPunct="1">
        <a:lnSpc>
          <a:spcPct val="90000"/>
        </a:lnSpc>
        <a:spcBef>
          <a:spcPts val="426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974065" indent="-194813" algn="l" defTabSz="779252" rtl="0" eaLnBrk="1" latinLnBrk="0" hangingPunct="1">
        <a:lnSpc>
          <a:spcPct val="90000"/>
        </a:lnSpc>
        <a:spcBef>
          <a:spcPts val="426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363690" indent="-194813" algn="l" defTabSz="779252" rtl="0" eaLnBrk="1" latinLnBrk="0" hangingPunct="1">
        <a:lnSpc>
          <a:spcPct val="90000"/>
        </a:lnSpc>
        <a:spcBef>
          <a:spcPts val="426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753316" indent="-194813" algn="l" defTabSz="779252" rtl="0" eaLnBrk="1" latinLnBrk="0" hangingPunct="1">
        <a:lnSpc>
          <a:spcPct val="90000"/>
        </a:lnSpc>
        <a:spcBef>
          <a:spcPts val="426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2142942" indent="-194813" algn="l" defTabSz="779252" rtl="0" eaLnBrk="1" latinLnBrk="0" hangingPunct="1">
        <a:lnSpc>
          <a:spcPct val="90000"/>
        </a:lnSpc>
        <a:spcBef>
          <a:spcPts val="426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532568" indent="-194813" algn="l" defTabSz="779252" rtl="0" eaLnBrk="1" latinLnBrk="0" hangingPunct="1">
        <a:lnSpc>
          <a:spcPct val="90000"/>
        </a:lnSpc>
        <a:spcBef>
          <a:spcPts val="426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922194" indent="-194813" algn="l" defTabSz="779252" rtl="0" eaLnBrk="1" latinLnBrk="0" hangingPunct="1">
        <a:lnSpc>
          <a:spcPct val="90000"/>
        </a:lnSpc>
        <a:spcBef>
          <a:spcPts val="426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3311820" indent="-194813" algn="l" defTabSz="779252" rtl="0" eaLnBrk="1" latinLnBrk="0" hangingPunct="1">
        <a:lnSpc>
          <a:spcPct val="90000"/>
        </a:lnSpc>
        <a:spcBef>
          <a:spcPts val="426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77925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1pPr>
      <a:lvl2pPr marL="389626" algn="l" defTabSz="77925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779252" algn="l" defTabSz="77925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168878" algn="l" defTabSz="77925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58503" algn="l" defTabSz="77925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948129" algn="l" defTabSz="77925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337755" algn="l" defTabSz="77925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727381" algn="l" defTabSz="77925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3117007" algn="l" defTabSz="77925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tittel 1"/>
          <p:cNvSpPr>
            <a:spLocks noGrp="1"/>
          </p:cNvSpPr>
          <p:nvPr>
            <p:ph type="title"/>
          </p:nvPr>
        </p:nvSpPr>
        <p:spPr>
          <a:xfrm>
            <a:off x="628652" y="273844"/>
            <a:ext cx="7886700" cy="994172"/>
          </a:xfrm>
          <a:prstGeom prst="rect">
            <a:avLst/>
          </a:prstGeom>
        </p:spPr>
        <p:txBody>
          <a:bodyPr vert="horz" lIns="77916" tIns="38958" rIns="77916" bIns="38958" rtlCol="0" anchor="ctr">
            <a:normAutofit/>
          </a:bodyPr>
          <a:lstStyle/>
          <a:p>
            <a:r>
              <a:rPr lang="nb-NO" smtClean="0"/>
              <a:t>Klikk for å redigere tittelstil</a:t>
            </a:r>
            <a:endParaRPr lang="nb-NO"/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628652" y="1369219"/>
            <a:ext cx="7886700" cy="3263504"/>
          </a:xfrm>
          <a:prstGeom prst="rect">
            <a:avLst/>
          </a:prstGeom>
        </p:spPr>
        <p:txBody>
          <a:bodyPr vert="horz" lIns="77916" tIns="38958" rIns="77916" bIns="38958" rtlCol="0">
            <a:normAutofit/>
          </a:bodyPr>
          <a:lstStyle/>
          <a:p>
            <a:pPr lvl="0"/>
            <a:r>
              <a:rPr lang="nb-NO" smtClean="0"/>
              <a:t>Klikk for å redigere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  <a:p>
            <a:pPr lvl="3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nb-NO"/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2"/>
          </p:nvPr>
        </p:nvSpPr>
        <p:spPr>
          <a:xfrm>
            <a:off x="628650" y="4767264"/>
            <a:ext cx="2057400" cy="273844"/>
          </a:xfrm>
          <a:prstGeom prst="rect">
            <a:avLst/>
          </a:prstGeom>
        </p:spPr>
        <p:txBody>
          <a:bodyPr vert="horz" lIns="77916" tIns="38958" rIns="77916" bIns="38958" rtlCol="0" anchor="ctr"/>
          <a:lstStyle>
            <a:lvl1pPr algn="l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eaLnBrk="0" fontAlgn="base" hangingPunct="0">
              <a:spcBef>
                <a:spcPct val="50000"/>
              </a:spcBef>
              <a:spcAft>
                <a:spcPct val="0"/>
              </a:spcAft>
              <a:buClr>
                <a:srgbClr val="44546A"/>
              </a:buClr>
              <a:buFont typeface="Symbol" pitchFamily="18" charset="2"/>
              <a:buNone/>
            </a:pPr>
            <a:fld id="{57CDDEFD-23F0-42EB-B054-95271AF0C6FD}" type="datetimeFigureOut">
              <a:rPr lang="nb-NO" smtClean="0">
                <a:solidFill>
                  <a:prstClr val="black">
                    <a:tint val="75000"/>
                  </a:prstClr>
                </a:solidFill>
                <a:latin typeface="Arial" charset="0"/>
              </a:rPr>
              <a:pPr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rgbClr val="44546A"/>
                </a:buClr>
                <a:buFont typeface="Symbol" pitchFamily="18" charset="2"/>
                <a:buNone/>
              </a:pPr>
              <a:t>13.09.2015</a:t>
            </a:fld>
            <a:endParaRPr lang="nb-NO">
              <a:solidFill>
                <a:prstClr val="black">
                  <a:tint val="75000"/>
                </a:prstClr>
              </a:solidFill>
              <a:latin typeface="Arial" charset="0"/>
            </a:endParaRPr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3028952" y="4767264"/>
            <a:ext cx="3086100" cy="273844"/>
          </a:xfrm>
          <a:prstGeom prst="rect">
            <a:avLst/>
          </a:prstGeom>
        </p:spPr>
        <p:txBody>
          <a:bodyPr vert="horz" lIns="77916" tIns="38958" rIns="77916" bIns="38958" rtlCol="0" anchor="ctr"/>
          <a:lstStyle>
            <a:lvl1pPr algn="ctr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eaLnBrk="0" fontAlgn="base" hangingPunct="0">
              <a:spcBef>
                <a:spcPct val="50000"/>
              </a:spcBef>
              <a:spcAft>
                <a:spcPct val="0"/>
              </a:spcAft>
              <a:buClr>
                <a:srgbClr val="44546A"/>
              </a:buClr>
              <a:buFont typeface="Symbol" pitchFamily="18" charset="2"/>
              <a:buNone/>
            </a:pPr>
            <a:endParaRPr lang="nb-NO">
              <a:solidFill>
                <a:prstClr val="black">
                  <a:tint val="75000"/>
                </a:prstClr>
              </a:solidFill>
              <a:latin typeface="Arial" charset="0"/>
            </a:endParaRPr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6457950" y="4767264"/>
            <a:ext cx="2057400" cy="273844"/>
          </a:xfrm>
          <a:prstGeom prst="rect">
            <a:avLst/>
          </a:prstGeom>
        </p:spPr>
        <p:txBody>
          <a:bodyPr vert="horz" lIns="77916" tIns="38958" rIns="77916" bIns="38958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eaLnBrk="0" fontAlgn="base" hangingPunct="0">
              <a:spcBef>
                <a:spcPct val="50000"/>
              </a:spcBef>
              <a:spcAft>
                <a:spcPct val="0"/>
              </a:spcAft>
              <a:buClr>
                <a:srgbClr val="44546A"/>
              </a:buClr>
              <a:buFont typeface="Symbol" pitchFamily="18" charset="2"/>
              <a:buNone/>
            </a:pPr>
            <a:fld id="{1C4D0B95-3711-4744-9B0D-35971583D887}" type="slidenum">
              <a:rPr lang="nb-NO" smtClean="0">
                <a:solidFill>
                  <a:prstClr val="black">
                    <a:tint val="75000"/>
                  </a:prstClr>
                </a:solidFill>
                <a:latin typeface="Arial" charset="0"/>
              </a:rPr>
              <a:pPr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rgbClr val="44546A"/>
                </a:buClr>
                <a:buFont typeface="Symbol" pitchFamily="18" charset="2"/>
                <a:buNone/>
              </a:pPr>
              <a:t>‹#›</a:t>
            </a:fld>
            <a:endParaRPr lang="nb-NO">
              <a:solidFill>
                <a:prstClr val="black">
                  <a:tint val="75000"/>
                </a:prstClr>
              </a:solidFill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9296692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81" r:id="rId1"/>
    <p:sldLayoutId id="2147483982" r:id="rId2"/>
    <p:sldLayoutId id="2147483983" r:id="rId3"/>
    <p:sldLayoutId id="2147483984" r:id="rId4"/>
    <p:sldLayoutId id="2147483985" r:id="rId5"/>
    <p:sldLayoutId id="2147483986" r:id="rId6"/>
    <p:sldLayoutId id="2147483987" r:id="rId7"/>
    <p:sldLayoutId id="2147483988" r:id="rId8"/>
    <p:sldLayoutId id="2147483989" r:id="rId9"/>
    <p:sldLayoutId id="2147483990" r:id="rId10"/>
    <p:sldLayoutId id="2147483991" r:id="rId11"/>
  </p:sldLayoutIdLst>
  <p:timing>
    <p:tnLst>
      <p:par>
        <p:cTn id="1" dur="indefinite" restart="never" nodeType="tmRoot"/>
      </p:par>
    </p:tnLst>
  </p:timing>
  <p:txStyles>
    <p:titleStyle>
      <a:lvl1pPr algn="l" defTabSz="779163" rtl="0" eaLnBrk="1" latinLnBrk="0" hangingPunct="1">
        <a:lnSpc>
          <a:spcPct val="90000"/>
        </a:lnSpc>
        <a:spcBef>
          <a:spcPct val="0"/>
        </a:spcBef>
        <a:buNone/>
        <a:defRPr sz="37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94791" indent="-194791" algn="l" defTabSz="779163" rtl="0" eaLnBrk="1" latinLnBrk="0" hangingPunct="1">
        <a:lnSpc>
          <a:spcPct val="90000"/>
        </a:lnSpc>
        <a:spcBef>
          <a:spcPts val="852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84372" indent="-194791" algn="l" defTabSz="779163" rtl="0" eaLnBrk="1" latinLnBrk="0" hangingPunct="1">
        <a:lnSpc>
          <a:spcPct val="90000"/>
        </a:lnSpc>
        <a:spcBef>
          <a:spcPts val="426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973954" indent="-194791" algn="l" defTabSz="779163" rtl="0" eaLnBrk="1" latinLnBrk="0" hangingPunct="1">
        <a:lnSpc>
          <a:spcPct val="90000"/>
        </a:lnSpc>
        <a:spcBef>
          <a:spcPts val="426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363534" indent="-194791" algn="l" defTabSz="779163" rtl="0" eaLnBrk="1" latinLnBrk="0" hangingPunct="1">
        <a:lnSpc>
          <a:spcPct val="90000"/>
        </a:lnSpc>
        <a:spcBef>
          <a:spcPts val="426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753117" indent="-194791" algn="l" defTabSz="779163" rtl="0" eaLnBrk="1" latinLnBrk="0" hangingPunct="1">
        <a:lnSpc>
          <a:spcPct val="90000"/>
        </a:lnSpc>
        <a:spcBef>
          <a:spcPts val="426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2142698" indent="-194791" algn="l" defTabSz="779163" rtl="0" eaLnBrk="1" latinLnBrk="0" hangingPunct="1">
        <a:lnSpc>
          <a:spcPct val="90000"/>
        </a:lnSpc>
        <a:spcBef>
          <a:spcPts val="426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532280" indent="-194791" algn="l" defTabSz="779163" rtl="0" eaLnBrk="1" latinLnBrk="0" hangingPunct="1">
        <a:lnSpc>
          <a:spcPct val="90000"/>
        </a:lnSpc>
        <a:spcBef>
          <a:spcPts val="426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921861" indent="-194791" algn="l" defTabSz="779163" rtl="0" eaLnBrk="1" latinLnBrk="0" hangingPunct="1">
        <a:lnSpc>
          <a:spcPct val="90000"/>
        </a:lnSpc>
        <a:spcBef>
          <a:spcPts val="426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3311443" indent="-194791" algn="l" defTabSz="779163" rtl="0" eaLnBrk="1" latinLnBrk="0" hangingPunct="1">
        <a:lnSpc>
          <a:spcPct val="90000"/>
        </a:lnSpc>
        <a:spcBef>
          <a:spcPts val="426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779163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1pPr>
      <a:lvl2pPr marL="389582" algn="l" defTabSz="779163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779163" algn="l" defTabSz="779163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168745" algn="l" defTabSz="779163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58326" algn="l" defTabSz="779163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947908" algn="l" defTabSz="779163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337489" algn="l" defTabSz="779163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727071" algn="l" defTabSz="779163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3116652" algn="l" defTabSz="779163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8"/>
            </p:custDataLst>
            <p:extLst>
              <p:ext uri="{D42A27DB-BD31-4B8C-83A1-F6EECF244321}">
                <p14:modId xmlns:p14="http://schemas.microsoft.com/office/powerpoint/2010/main" val="275845751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33" name="think-cell Slide" r:id="rId29" imgW="270" imgH="270" progId="TCLayout.ActiveDocument.1">
                  <p:embed/>
                </p:oleObj>
              </mc:Choice>
              <mc:Fallback>
                <p:oleObj name="think-cell Slide" r:id="rId2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lassholder for tittel 1"/>
          <p:cNvSpPr>
            <a:spLocks noGrp="1"/>
          </p:cNvSpPr>
          <p:nvPr>
            <p:ph type="title"/>
          </p:nvPr>
        </p:nvSpPr>
        <p:spPr>
          <a:xfrm>
            <a:off x="468000" y="716424"/>
            <a:ext cx="8208000" cy="402291"/>
          </a:xfrm>
          <a:prstGeom prst="rect">
            <a:avLst/>
          </a:prstGeom>
        </p:spPr>
        <p:txBody>
          <a:bodyPr vert="horz" lIns="90000" tIns="46800" rIns="90000" bIns="46800" rtlCol="0" anchor="b" anchorCtr="0">
            <a:spAutoFit/>
          </a:bodyPr>
          <a:lstStyle/>
          <a:p>
            <a:r>
              <a:rPr lang="nb-NO" dirty="0" smtClean="0"/>
              <a:t>Klikk for å redigere tittelstil</a:t>
            </a:r>
            <a:endParaRPr lang="nb-NO" dirty="0"/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468000" y="1274400"/>
            <a:ext cx="8208000" cy="3394472"/>
          </a:xfrm>
          <a:prstGeom prst="rect">
            <a:avLst/>
          </a:prstGeom>
        </p:spPr>
        <p:txBody>
          <a:bodyPr vert="horz" lIns="90000" tIns="46800" rIns="90000" bIns="46800" rtlCol="0">
            <a:normAutofit/>
          </a:bodyPr>
          <a:lstStyle/>
          <a:p>
            <a:pPr lvl="0"/>
            <a:r>
              <a:rPr lang="nb-NO" dirty="0" smtClean="0"/>
              <a:t>Klikk for å redigere tekststiler i malen</a:t>
            </a:r>
          </a:p>
          <a:p>
            <a:pPr lvl="1"/>
            <a:r>
              <a:rPr lang="nb-NO" dirty="0" smtClean="0"/>
              <a:t>Andre nivå</a:t>
            </a:r>
          </a:p>
          <a:p>
            <a:pPr lvl="2"/>
            <a:r>
              <a:rPr lang="nb-NO" dirty="0" smtClean="0"/>
              <a:t>Tredje nivå</a:t>
            </a:r>
          </a:p>
          <a:p>
            <a:pPr lvl="3"/>
            <a:r>
              <a:rPr lang="nb-NO" dirty="0" smtClean="0"/>
              <a:t>Fjerde nivå</a:t>
            </a:r>
          </a:p>
          <a:p>
            <a:pPr lvl="4"/>
            <a:r>
              <a:rPr lang="nb-NO" dirty="0" smtClean="0"/>
              <a:t>Femte nivå</a:t>
            </a:r>
            <a:endParaRPr lang="nb-NO" dirty="0"/>
          </a:p>
        </p:txBody>
      </p:sp>
      <p:sp>
        <p:nvSpPr>
          <p:cNvPr id="7" name="Plassholder for dato 3"/>
          <p:cNvSpPr>
            <a:spLocks noGrp="1"/>
          </p:cNvSpPr>
          <p:nvPr>
            <p:ph type="dt" sz="half" idx="2"/>
          </p:nvPr>
        </p:nvSpPr>
        <p:spPr>
          <a:xfrm>
            <a:off x="6732240" y="4993003"/>
            <a:ext cx="1080120" cy="108011"/>
          </a:xfrm>
          <a:prstGeom prst="rect">
            <a:avLst/>
          </a:prstGeom>
        </p:spPr>
        <p:txBody>
          <a:bodyPr anchor="ctr" anchorCtr="0"/>
          <a:lstStyle>
            <a:lvl1pPr>
              <a:defRPr sz="800">
                <a:solidFill>
                  <a:srgbClr val="003244"/>
                </a:solidFill>
              </a:defRPr>
            </a:lvl1pPr>
          </a:lstStyle>
          <a:p>
            <a:pPr defTabSz="914400"/>
            <a:r>
              <a:rPr lang="nb-NO" smtClean="0"/>
              <a:t>08.06.2015</a:t>
            </a:r>
            <a:endParaRPr lang="nb-NO" dirty="0"/>
          </a:p>
        </p:txBody>
      </p:sp>
      <p:sp>
        <p:nvSpPr>
          <p:cNvPr id="8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6732240" y="4776979"/>
            <a:ext cx="2160240" cy="162017"/>
          </a:xfrm>
          <a:prstGeom prst="rect">
            <a:avLst/>
          </a:prstGeom>
        </p:spPr>
        <p:txBody>
          <a:bodyPr anchor="ctr" anchorCtr="0"/>
          <a:lstStyle>
            <a:lvl1pPr algn="l">
              <a:defRPr sz="1000" b="1">
                <a:solidFill>
                  <a:srgbClr val="039BAF"/>
                </a:solidFill>
              </a:defRPr>
            </a:lvl1pPr>
          </a:lstStyle>
          <a:p>
            <a:pPr defTabSz="914400"/>
            <a:r>
              <a:rPr lang="nb-NO" smtClean="0"/>
              <a:t>KMD</a:t>
            </a:r>
            <a:endParaRPr lang="nb-NO" dirty="0"/>
          </a:p>
        </p:txBody>
      </p:sp>
      <p:sp>
        <p:nvSpPr>
          <p:cNvPr id="9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7884368" y="4993003"/>
            <a:ext cx="648072" cy="108011"/>
          </a:xfrm>
          <a:prstGeom prst="rect">
            <a:avLst/>
          </a:prstGeom>
        </p:spPr>
        <p:txBody>
          <a:bodyPr anchor="ctr" anchorCtr="0"/>
          <a:lstStyle>
            <a:lvl1pPr>
              <a:defRPr sz="800">
                <a:solidFill>
                  <a:srgbClr val="003244"/>
                </a:solidFill>
              </a:defRPr>
            </a:lvl1pPr>
          </a:lstStyle>
          <a:p>
            <a:pPr defTabSz="914400"/>
            <a:fld id="{CDA22134-EA94-4B2E-9154-EB8F13265450}" type="slidenum">
              <a:rPr lang="nb-NO" smtClean="0"/>
              <a:pPr defTabSz="914400"/>
              <a:t>‹#›</a:t>
            </a:fld>
            <a:endParaRPr lang="nb-NO" dirty="0"/>
          </a:p>
        </p:txBody>
      </p:sp>
      <p:pic>
        <p:nvPicPr>
          <p:cNvPr id="10" name="Bilde 9"/>
          <p:cNvPicPr>
            <a:picLocks/>
          </p:cNvPicPr>
          <p:nvPr/>
        </p:nvPicPr>
        <p:blipFill>
          <a:blip r:embed="rId3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6238" y="4894009"/>
            <a:ext cx="1076709" cy="146744"/>
          </a:xfrm>
          <a:prstGeom prst="rect">
            <a:avLst/>
          </a:prstGeom>
        </p:spPr>
      </p:pic>
      <p:cxnSp>
        <p:nvCxnSpPr>
          <p:cNvPr id="13" name="Rett linje 12"/>
          <p:cNvCxnSpPr/>
          <p:nvPr/>
        </p:nvCxnSpPr>
        <p:spPr>
          <a:xfrm>
            <a:off x="0" y="4742876"/>
            <a:ext cx="9144000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873415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50" r:id="rId1"/>
    <p:sldLayoutId id="2147484151" r:id="rId2"/>
    <p:sldLayoutId id="2147484152" r:id="rId3"/>
    <p:sldLayoutId id="2147484153" r:id="rId4"/>
    <p:sldLayoutId id="2147484154" r:id="rId5"/>
    <p:sldLayoutId id="2147484155" r:id="rId6"/>
    <p:sldLayoutId id="2147484156" r:id="rId7"/>
    <p:sldLayoutId id="2147484157" r:id="rId8"/>
    <p:sldLayoutId id="2147484158" r:id="rId9"/>
    <p:sldLayoutId id="2147484159" r:id="rId10"/>
    <p:sldLayoutId id="2147484160" r:id="rId11"/>
    <p:sldLayoutId id="2147484161" r:id="rId12"/>
    <p:sldLayoutId id="2147484162" r:id="rId13"/>
    <p:sldLayoutId id="2147484163" r:id="rId14"/>
    <p:sldLayoutId id="2147484164" r:id="rId15"/>
    <p:sldLayoutId id="2147484165" r:id="rId16"/>
    <p:sldLayoutId id="2147484166" r:id="rId17"/>
    <p:sldLayoutId id="2147484167" r:id="rId18"/>
    <p:sldLayoutId id="2147484168" r:id="rId19"/>
    <p:sldLayoutId id="2147484169" r:id="rId20"/>
    <p:sldLayoutId id="2147484170" r:id="rId21"/>
    <p:sldLayoutId id="2147484171" r:id="rId22"/>
    <p:sldLayoutId id="2147484172" r:id="rId23"/>
    <p:sldLayoutId id="2147484198" r:id="rId24"/>
    <p:sldLayoutId id="2147484199" r:id="rId25"/>
  </p:sldLayoutIdLst>
  <p:timing>
    <p:tnLst>
      <p:par>
        <p:cTn id="1" dur="indefinite" restart="never" nodeType="tmRoot"/>
      </p:par>
    </p:tnLst>
  </p:timing>
  <p:hf hdr="0"/>
  <p:txStyles>
    <p:titleStyle>
      <a:lvl1pPr algn="l" defTabSz="914400" rtl="0" eaLnBrk="1" latinLnBrk="0" hangingPunct="1">
        <a:spcBef>
          <a:spcPct val="0"/>
        </a:spcBef>
        <a:buNone/>
        <a:defRPr sz="2000" kern="1200">
          <a:solidFill>
            <a:srgbClr val="003244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1200" kern="1200">
          <a:solidFill>
            <a:srgbClr val="003244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1200" kern="1200">
          <a:solidFill>
            <a:srgbClr val="003244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1200" kern="1200">
          <a:solidFill>
            <a:srgbClr val="003244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1200" kern="1200">
          <a:solidFill>
            <a:srgbClr val="003244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1200" kern="1200">
          <a:solidFill>
            <a:srgbClr val="003244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7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7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7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09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10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jpeg"/><Relationship Id="rId3" Type="http://schemas.openxmlformats.org/officeDocument/2006/relationships/slideLayout" Target="../slideLayouts/slideLayout19.xml"/><Relationship Id="rId7" Type="http://schemas.openxmlformats.org/officeDocument/2006/relationships/image" Target="../media/image15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4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4.xml"/><Relationship Id="rId9" Type="http://schemas.openxmlformats.org/officeDocument/2006/relationships/image" Target="../media/image17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1.xml"/><Relationship Id="rId7" Type="http://schemas.openxmlformats.org/officeDocument/2006/relationships/image" Target="../media/image18.png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4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5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1.emf"/><Relationship Id="rId4" Type="http://schemas.openxmlformats.org/officeDocument/2006/relationships/oleObject" Target="../embeddings/oleObject4.bin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jpg"/><Relationship Id="rId1" Type="http://schemas.openxmlformats.org/officeDocument/2006/relationships/slideLayout" Target="../slideLayouts/slideLayout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685800" y="3763173"/>
            <a:ext cx="7772400" cy="402291"/>
          </a:xfrm>
        </p:spPr>
        <p:txBody>
          <a:bodyPr/>
          <a:lstStyle/>
          <a:p>
            <a:r>
              <a:rPr lang="nb-NO" dirty="0" smtClean="0"/>
              <a:t>Frokostmøte </a:t>
            </a:r>
            <a:r>
              <a:rPr lang="nb-NO" dirty="0" err="1" smtClean="0"/>
              <a:t>Difi</a:t>
            </a:r>
            <a:endParaRPr lang="nb-NO" dirty="0"/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685800" y="4139618"/>
            <a:ext cx="7772400" cy="402291"/>
          </a:xfrm>
        </p:spPr>
        <p:txBody>
          <a:bodyPr/>
          <a:lstStyle/>
          <a:p>
            <a:pPr lvl="0"/>
            <a:r>
              <a:rPr lang="nb-NO" sz="2000" b="1" i="1" dirty="0" smtClean="0"/>
              <a:t>Gjennomføring av IKT-prosjekter i staten</a:t>
            </a:r>
            <a:endParaRPr lang="nb-NO" sz="2000" dirty="0">
              <a:solidFill>
                <a:prstClr val="white"/>
              </a:solidFill>
            </a:endParaRPr>
          </a:p>
        </p:txBody>
      </p:sp>
      <p:pic>
        <p:nvPicPr>
          <p:cNvPr id="17" name="Plassholder for bilde 16"/>
          <p:cNvPicPr>
            <a:picLocks noGrp="1" noChangeAspect="1"/>
          </p:cNvPicPr>
          <p:nvPr>
            <p:ph type="pic" idx="10"/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232" b="4232"/>
          <a:stretch>
            <a:fillRect/>
          </a:stretch>
        </p:blipFill>
        <p:spPr/>
      </p:pic>
      <p:sp>
        <p:nvSpPr>
          <p:cNvPr id="4" name="Plassholder for tekst 3"/>
          <p:cNvSpPr>
            <a:spLocks noGrp="1"/>
          </p:cNvSpPr>
          <p:nvPr>
            <p:ph type="body" sz="quarter" idx="11"/>
          </p:nvPr>
        </p:nvSpPr>
        <p:spPr>
          <a:xfrm>
            <a:off x="685720" y="4850165"/>
            <a:ext cx="7772479" cy="263791"/>
          </a:xfrm>
        </p:spPr>
        <p:txBody>
          <a:bodyPr/>
          <a:lstStyle/>
          <a:p>
            <a:r>
              <a:rPr lang="nb-NO" sz="1100" dirty="0" smtClean="0"/>
              <a:t>Oslo, 14. september 2015</a:t>
            </a:r>
            <a:endParaRPr lang="nb-NO" sz="1100" dirty="0"/>
          </a:p>
        </p:txBody>
      </p:sp>
      <p:sp>
        <p:nvSpPr>
          <p:cNvPr id="6" name="Plassholder for tekst 3"/>
          <p:cNvSpPr txBox="1">
            <a:spLocks/>
          </p:cNvSpPr>
          <p:nvPr/>
        </p:nvSpPr>
        <p:spPr>
          <a:xfrm>
            <a:off x="683568" y="4515966"/>
            <a:ext cx="7772479" cy="309958"/>
          </a:xfrm>
          <a:prstGeom prst="rect">
            <a:avLst/>
          </a:prstGeom>
        </p:spPr>
        <p:txBody>
          <a:bodyPr vert="horz" wrap="square" lIns="90000" tIns="46800" rIns="90000" bIns="46800" rtlCol="0" anchor="b" anchorCtr="0">
            <a:sp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200" kern="1200">
                <a:solidFill>
                  <a:srgbClr val="003244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200" kern="1200">
                <a:solidFill>
                  <a:srgbClr val="003244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200" kern="1200">
                <a:solidFill>
                  <a:srgbClr val="003244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200" kern="1200">
                <a:solidFill>
                  <a:srgbClr val="003244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nb-NO" dirty="0" smtClean="0"/>
              <a:t>Christine Bergland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2116691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 smtClean="0"/>
              <a:t>Noen suksesskriterier</a:t>
            </a:r>
            <a:endParaRPr lang="nb-NO" dirty="0"/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/>
        <p:txBody>
          <a:bodyPr>
            <a:normAutofit lnSpcReduction="10000"/>
          </a:bodyPr>
          <a:lstStyle/>
          <a:p>
            <a:r>
              <a:rPr lang="nb-NO" b="1" dirty="0" smtClean="0"/>
              <a:t>Styring</a:t>
            </a:r>
          </a:p>
          <a:p>
            <a:pPr lvl="1"/>
            <a:r>
              <a:rPr lang="nb-NO" dirty="0" smtClean="0"/>
              <a:t>Styringsmodell for prosjektet som henger sammen med styring av virksomheten</a:t>
            </a:r>
          </a:p>
          <a:p>
            <a:pPr lvl="1"/>
            <a:r>
              <a:rPr lang="nb-NO" dirty="0" smtClean="0"/>
              <a:t>IT-prosjekter er en viktig del av ansvaret hos mange ledere</a:t>
            </a:r>
          </a:p>
          <a:p>
            <a:pPr lvl="1"/>
            <a:r>
              <a:rPr lang="nb-NO" dirty="0" smtClean="0"/>
              <a:t>Øverste leder viktigst</a:t>
            </a:r>
          </a:p>
          <a:p>
            <a:pPr marL="457200" lvl="1" indent="0">
              <a:buNone/>
            </a:pPr>
            <a:endParaRPr lang="nb-NO" dirty="0" smtClean="0"/>
          </a:p>
          <a:p>
            <a:r>
              <a:rPr lang="nb-NO" b="1" dirty="0" smtClean="0"/>
              <a:t>Erfarne prosjektledere og prosjekteiere med tillit og tilstrekkelig tid</a:t>
            </a:r>
          </a:p>
          <a:p>
            <a:pPr lvl="1"/>
            <a:r>
              <a:rPr lang="nb-NO" dirty="0" smtClean="0"/>
              <a:t>Prosjekteier må forstå og beherske rollen</a:t>
            </a:r>
          </a:p>
          <a:p>
            <a:pPr lvl="1"/>
            <a:r>
              <a:rPr lang="nb-NO" dirty="0" smtClean="0"/>
              <a:t>Prosjektleder må ha adekvat kompetanse </a:t>
            </a:r>
          </a:p>
          <a:p>
            <a:pPr lvl="2"/>
            <a:r>
              <a:rPr lang="nb-NO" dirty="0" smtClean="0"/>
              <a:t>Risikostyring</a:t>
            </a:r>
          </a:p>
          <a:p>
            <a:pPr marL="914400" lvl="2" indent="0">
              <a:buNone/>
            </a:pPr>
            <a:endParaRPr lang="nb-NO" dirty="0" smtClean="0"/>
          </a:p>
          <a:p>
            <a:r>
              <a:rPr lang="nb-NO" b="1" dirty="0" smtClean="0"/>
              <a:t>Prosjektet må inngå i virksomhetens planer og være en del av et større </a:t>
            </a:r>
            <a:r>
              <a:rPr lang="nb-NO" b="1" dirty="0" err="1" smtClean="0"/>
              <a:t>målbilde</a:t>
            </a:r>
            <a:endParaRPr lang="nb-NO" b="1" dirty="0" smtClean="0"/>
          </a:p>
          <a:p>
            <a:pPr lvl="1"/>
            <a:r>
              <a:rPr lang="nb-NO" dirty="0" smtClean="0"/>
              <a:t>Realiseringen kan skje gradvis</a:t>
            </a:r>
          </a:p>
          <a:p>
            <a:pPr marL="0" indent="0">
              <a:buNone/>
            </a:pPr>
            <a:endParaRPr lang="nb-NO" dirty="0" smtClean="0"/>
          </a:p>
          <a:p>
            <a:r>
              <a:rPr lang="nb-NO" b="1" dirty="0" err="1" smtClean="0"/>
              <a:t>Målbilder</a:t>
            </a:r>
            <a:r>
              <a:rPr lang="nb-NO" b="1" dirty="0" smtClean="0"/>
              <a:t> og større prosjekter må være godt forankret i departement </a:t>
            </a:r>
          </a:p>
          <a:p>
            <a:pPr lvl="1"/>
            <a:r>
              <a:rPr lang="nb-NO" dirty="0" smtClean="0"/>
              <a:t>Juridiske endringer, finansiering og avhengigheter</a:t>
            </a:r>
          </a:p>
          <a:p>
            <a:pPr marL="457200" lvl="1" indent="0">
              <a:buNone/>
            </a:pPr>
            <a:endParaRPr lang="nb-NO" dirty="0" smtClean="0"/>
          </a:p>
          <a:p>
            <a:r>
              <a:rPr lang="nb-NO" b="1" dirty="0" smtClean="0"/>
              <a:t>Det må foreligge kost-nyttevurderinger med gevinstrealiseringsplaner</a:t>
            </a:r>
          </a:p>
          <a:p>
            <a:endParaRPr lang="nb-NO" dirty="0" smtClean="0"/>
          </a:p>
          <a:p>
            <a:endParaRPr lang="nb-NO" dirty="0" smtClean="0"/>
          </a:p>
          <a:p>
            <a:endParaRPr lang="nb-NO" dirty="0"/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nb-NO" dirty="0" smtClean="0"/>
              <a:t>14.09.2015</a:t>
            </a:r>
            <a:endParaRPr lang="nb-NO" dirty="0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nb-NO" dirty="0" err="1" smtClean="0"/>
              <a:t>Difi</a:t>
            </a:r>
            <a:r>
              <a:rPr lang="nb-NO" dirty="0" smtClean="0"/>
              <a:t> </a:t>
            </a:r>
            <a:endParaRPr lang="nb-NO" dirty="0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CDA22134-EA94-4B2E-9154-EB8F13265450}" type="slidenum">
              <a:rPr lang="nb-NO" smtClean="0"/>
              <a:pPr/>
              <a:t>2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7619381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 smtClean="0"/>
              <a:t>Ett eksempel…</a:t>
            </a:r>
            <a:endParaRPr lang="nb-NO" dirty="0"/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endParaRPr lang="nb-NO" dirty="0" smtClean="0"/>
          </a:p>
          <a:p>
            <a:pPr marL="0" indent="0">
              <a:buNone/>
            </a:pPr>
            <a:endParaRPr lang="nb-NO" dirty="0"/>
          </a:p>
          <a:p>
            <a:pPr marL="0" indent="0">
              <a:buNone/>
            </a:pPr>
            <a:endParaRPr lang="nb-NO" dirty="0" smtClean="0"/>
          </a:p>
          <a:p>
            <a:pPr marL="0" indent="0">
              <a:buNone/>
            </a:pPr>
            <a:endParaRPr lang="nb-NO" dirty="0"/>
          </a:p>
          <a:p>
            <a:pPr marL="0" indent="0">
              <a:buNone/>
            </a:pPr>
            <a:endParaRPr lang="nb-NO" dirty="0" smtClean="0"/>
          </a:p>
          <a:p>
            <a:pPr marL="0" indent="0">
              <a:buNone/>
            </a:pPr>
            <a:r>
              <a:rPr lang="nb-NO" dirty="0"/>
              <a:t>	</a:t>
            </a:r>
            <a:r>
              <a:rPr lang="nb-NO" dirty="0" smtClean="0"/>
              <a:t>		</a:t>
            </a:r>
          </a:p>
          <a:p>
            <a:pPr marL="0" indent="0" algn="ctr">
              <a:buNone/>
            </a:pPr>
            <a:r>
              <a:rPr lang="nb-NO" sz="4400" dirty="0" smtClean="0"/>
              <a:t>Helsenorge.no</a:t>
            </a:r>
            <a:endParaRPr lang="nb-NO" dirty="0"/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nb-NO" smtClean="0"/>
              <a:t>08.06.2015</a:t>
            </a:r>
            <a:endParaRPr lang="nb-NO" dirty="0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nb-NO" smtClean="0"/>
              <a:t>KMD</a:t>
            </a:r>
            <a:endParaRPr lang="nb-NO" dirty="0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CDA22134-EA94-4B2E-9154-EB8F13265450}" type="slidenum">
              <a:rPr lang="nb-NO" smtClean="0"/>
              <a:pPr/>
              <a:t>3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4133670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7" name="Gruppe 66"/>
          <p:cNvGrpSpPr/>
          <p:nvPr/>
        </p:nvGrpSpPr>
        <p:grpSpPr>
          <a:xfrm>
            <a:off x="4708874" y="3683724"/>
            <a:ext cx="4357914" cy="555238"/>
            <a:chOff x="4714586" y="3946950"/>
            <a:chExt cx="4357914" cy="740317"/>
          </a:xfrm>
        </p:grpSpPr>
        <p:sp>
          <p:nvSpPr>
            <p:cNvPr id="68" name="Rounded Rectangle 51"/>
            <p:cNvSpPr/>
            <p:nvPr/>
          </p:nvSpPr>
          <p:spPr bwMode="auto">
            <a:xfrm>
              <a:off x="4750872" y="3983234"/>
              <a:ext cx="4321628" cy="704033"/>
            </a:xfrm>
            <a:prstGeom prst="roundRect">
              <a:avLst>
                <a:gd name="adj" fmla="val 7738"/>
              </a:avLst>
            </a:prstGeom>
            <a:noFill/>
            <a:ln w="12700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36000" tIns="216000" rIns="36000" bIns="36000" numCol="1" rtlCol="0" anchor="t" anchorCtr="0" compatLnSpc="1">
              <a:prstTxWarp prst="textNoShape">
                <a:avLst/>
              </a:prstTxWarp>
            </a:bodyPr>
            <a:lstStyle/>
            <a:p>
              <a:pPr eaLnBrk="0" hangingPunct="0"/>
              <a:r>
                <a:rPr lang="nb-NO" sz="900" dirty="0">
                  <a:solidFill>
                    <a:srgbClr val="000000"/>
                  </a:solidFill>
                </a:rPr>
                <a:t>Støtter behov for utveksling av strukturert informasjon mellom innbygger og helsetjenesten. Definisjon av skjema; struktur, innhold, regler. Skjemautfylling </a:t>
              </a:r>
              <a:r>
                <a:rPr lang="nb-NO" sz="900" dirty="0" smtClean="0">
                  <a:solidFill>
                    <a:srgbClr val="000000"/>
                  </a:solidFill>
                </a:rPr>
                <a:t>.</a:t>
              </a:r>
              <a:endParaRPr lang="nb-NO" sz="900" dirty="0">
                <a:solidFill>
                  <a:srgbClr val="000000"/>
                </a:solidFill>
              </a:endParaRPr>
            </a:p>
          </p:txBody>
        </p:sp>
        <p:sp>
          <p:nvSpPr>
            <p:cNvPr id="69" name="Rounded Rectangle 52"/>
            <p:cNvSpPr/>
            <p:nvPr/>
          </p:nvSpPr>
          <p:spPr bwMode="auto">
            <a:xfrm>
              <a:off x="4714586" y="3946950"/>
              <a:ext cx="4226531" cy="203198"/>
            </a:xfrm>
            <a:prstGeom prst="roundRect">
              <a:avLst>
                <a:gd name="adj" fmla="val 7738"/>
              </a:avLst>
            </a:prstGeom>
            <a:solidFill>
              <a:schemeClr val="accent1"/>
            </a:solidFill>
            <a:ln w="12700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eaLnBrk="0" hangingPunct="0"/>
              <a:r>
                <a:rPr lang="nb-NO" sz="1000" b="1" dirty="0">
                  <a:solidFill>
                    <a:srgbClr val="FFFFFF"/>
                  </a:solidFill>
                </a:rPr>
                <a:t>K. Digitale skjema</a:t>
              </a:r>
            </a:p>
          </p:txBody>
        </p:sp>
      </p:grpSp>
      <p:grpSp>
        <p:nvGrpSpPr>
          <p:cNvPr id="13" name="Gruppe 12"/>
          <p:cNvGrpSpPr/>
          <p:nvPr/>
        </p:nvGrpSpPr>
        <p:grpSpPr>
          <a:xfrm>
            <a:off x="210454" y="3676803"/>
            <a:ext cx="4357914" cy="558518"/>
            <a:chOff x="210454" y="3090920"/>
            <a:chExt cx="4357914" cy="744690"/>
          </a:xfrm>
        </p:grpSpPr>
        <p:sp>
          <p:nvSpPr>
            <p:cNvPr id="46" name="Rounded Rectangle 45"/>
            <p:cNvSpPr/>
            <p:nvPr/>
          </p:nvSpPr>
          <p:spPr bwMode="auto">
            <a:xfrm>
              <a:off x="246740" y="3127204"/>
              <a:ext cx="4321628" cy="708406"/>
            </a:xfrm>
            <a:prstGeom prst="roundRect">
              <a:avLst>
                <a:gd name="adj" fmla="val 7738"/>
              </a:avLst>
            </a:prstGeom>
            <a:noFill/>
            <a:ln w="12700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36000" tIns="216000" rIns="36000" bIns="36000" numCol="1" rtlCol="0" anchor="t" anchorCtr="0" compatLnSpc="1">
              <a:prstTxWarp prst="textNoShape">
                <a:avLst/>
              </a:prstTxWarp>
            </a:bodyPr>
            <a:lstStyle/>
            <a:p>
              <a:pPr eaLnBrk="0" hangingPunct="0"/>
              <a:r>
                <a:rPr lang="nb-NO" sz="900" dirty="0">
                  <a:solidFill>
                    <a:srgbClr val="000000"/>
                  </a:solidFill>
                </a:rPr>
                <a:t>Støtter behov for oversikt over nåværende og tidligere behandlere og behandlings-steder. Tilgang til generell informasjon inkl. kontaktopplysninger, behandlingstilbud og </a:t>
              </a:r>
              <a:r>
                <a:rPr lang="nb-NO" sz="900" dirty="0" smtClean="0">
                  <a:solidFill>
                    <a:srgbClr val="000000"/>
                  </a:solidFill>
                </a:rPr>
                <a:t>kvalitet.</a:t>
              </a:r>
              <a:endParaRPr lang="nb-NO" sz="900" dirty="0">
                <a:solidFill>
                  <a:srgbClr val="000000"/>
                </a:solidFill>
              </a:endParaRPr>
            </a:p>
          </p:txBody>
        </p:sp>
        <p:sp>
          <p:nvSpPr>
            <p:cNvPr id="47" name="Rounded Rectangle 46"/>
            <p:cNvSpPr/>
            <p:nvPr/>
          </p:nvSpPr>
          <p:spPr bwMode="auto">
            <a:xfrm>
              <a:off x="210454" y="3090920"/>
              <a:ext cx="4226531" cy="203198"/>
            </a:xfrm>
            <a:prstGeom prst="roundRect">
              <a:avLst>
                <a:gd name="adj" fmla="val 7738"/>
              </a:avLst>
            </a:prstGeom>
            <a:solidFill>
              <a:schemeClr val="accent1"/>
            </a:solidFill>
            <a:ln w="12700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eaLnBrk="0" hangingPunct="0"/>
              <a:r>
                <a:rPr lang="nb-NO" sz="1000" b="1" dirty="0">
                  <a:solidFill>
                    <a:srgbClr val="FFFFFF"/>
                  </a:solidFill>
                </a:rPr>
                <a:t>E. Om behandler og behandlingssted</a:t>
              </a:r>
            </a:p>
          </p:txBody>
        </p:sp>
      </p:grpSp>
      <p:grpSp>
        <p:nvGrpSpPr>
          <p:cNvPr id="17" name="Gruppe 16"/>
          <p:cNvGrpSpPr/>
          <p:nvPr/>
        </p:nvGrpSpPr>
        <p:grpSpPr>
          <a:xfrm>
            <a:off x="210454" y="4330483"/>
            <a:ext cx="4357914" cy="559610"/>
            <a:chOff x="210454" y="3946951"/>
            <a:chExt cx="4357914" cy="746147"/>
          </a:xfrm>
        </p:grpSpPr>
        <p:sp>
          <p:nvSpPr>
            <p:cNvPr id="49" name="Rounded Rectangle 48"/>
            <p:cNvSpPr/>
            <p:nvPr/>
          </p:nvSpPr>
          <p:spPr bwMode="auto">
            <a:xfrm>
              <a:off x="246740" y="3983235"/>
              <a:ext cx="4321628" cy="709863"/>
            </a:xfrm>
            <a:prstGeom prst="roundRect">
              <a:avLst>
                <a:gd name="adj" fmla="val 7738"/>
              </a:avLst>
            </a:prstGeom>
            <a:solidFill>
              <a:schemeClr val="bg1"/>
            </a:solidFill>
            <a:ln w="12700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36000" tIns="216000" rIns="36000" bIns="36000" numCol="1" rtlCol="0" anchor="t" anchorCtr="0" compatLnSpc="1">
              <a:prstTxWarp prst="textNoShape">
                <a:avLst/>
              </a:prstTxWarp>
            </a:bodyPr>
            <a:lstStyle/>
            <a:p>
              <a:pPr eaLnBrk="0" hangingPunct="0"/>
              <a:r>
                <a:rPr lang="nb-NO" sz="900" dirty="0">
                  <a:solidFill>
                    <a:srgbClr val="000000"/>
                  </a:solidFill>
                </a:rPr>
                <a:t>Støtter behov for innsyn i dokumentasjon om seg selv hos behandler, samt hvordan denne er brukt. Innsyn i journaldokumenter, strukturert informasjon, logg over bruk. </a:t>
              </a:r>
            </a:p>
          </p:txBody>
        </p:sp>
        <p:sp>
          <p:nvSpPr>
            <p:cNvPr id="50" name="Rounded Rectangle 49"/>
            <p:cNvSpPr/>
            <p:nvPr/>
          </p:nvSpPr>
          <p:spPr bwMode="auto">
            <a:xfrm>
              <a:off x="210454" y="3946951"/>
              <a:ext cx="4226531" cy="203198"/>
            </a:xfrm>
            <a:prstGeom prst="roundRect">
              <a:avLst>
                <a:gd name="adj" fmla="val 7738"/>
              </a:avLst>
            </a:prstGeom>
            <a:solidFill>
              <a:schemeClr val="accent1"/>
            </a:solidFill>
            <a:ln w="12700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eaLnBrk="0" hangingPunct="0"/>
              <a:r>
                <a:rPr lang="nb-NO" sz="1000" b="1" dirty="0">
                  <a:solidFill>
                    <a:srgbClr val="FFFFFF"/>
                  </a:solidFill>
                </a:rPr>
                <a:t>F. Tilgang til journaldokumentasjon</a:t>
              </a:r>
            </a:p>
          </p:txBody>
        </p:sp>
      </p:grpSp>
      <p:sp>
        <p:nvSpPr>
          <p:cNvPr id="27" name="Title 26"/>
          <p:cNvSpPr>
            <a:spLocks noGrp="1"/>
          </p:cNvSpPr>
          <p:nvPr>
            <p:ph type="title"/>
          </p:nvPr>
        </p:nvSpPr>
        <p:spPr>
          <a:xfrm>
            <a:off x="453863" y="483518"/>
            <a:ext cx="8236286" cy="402291"/>
          </a:xfrm>
        </p:spPr>
        <p:txBody>
          <a:bodyPr/>
          <a:lstStyle/>
          <a:p>
            <a:r>
              <a:rPr lang="nb-NO" sz="2000" dirty="0" smtClean="0"/>
              <a:t>Det nasjonale målbildet for digitale innbyggertjenester</a:t>
            </a:r>
            <a:endParaRPr lang="nb-NO" sz="2000" dirty="0"/>
          </a:p>
        </p:txBody>
      </p:sp>
      <p:grpSp>
        <p:nvGrpSpPr>
          <p:cNvPr id="18" name="Gruppe 17"/>
          <p:cNvGrpSpPr/>
          <p:nvPr/>
        </p:nvGrpSpPr>
        <p:grpSpPr>
          <a:xfrm>
            <a:off x="210454" y="1060689"/>
            <a:ext cx="4357914" cy="555238"/>
            <a:chOff x="210454" y="2234889"/>
            <a:chExt cx="4357914" cy="740317"/>
          </a:xfrm>
        </p:grpSpPr>
        <p:sp>
          <p:nvSpPr>
            <p:cNvPr id="43" name="Rounded Rectangle 42"/>
            <p:cNvSpPr/>
            <p:nvPr/>
          </p:nvSpPr>
          <p:spPr bwMode="auto">
            <a:xfrm>
              <a:off x="246740" y="2271173"/>
              <a:ext cx="4321628" cy="704033"/>
            </a:xfrm>
            <a:prstGeom prst="roundRect">
              <a:avLst>
                <a:gd name="adj" fmla="val 7738"/>
              </a:avLst>
            </a:prstGeom>
            <a:noFill/>
            <a:ln w="12700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36000" tIns="216000" rIns="36000" bIns="36000" numCol="1" rtlCol="0" anchor="t" anchorCtr="0" compatLnSpc="1">
              <a:prstTxWarp prst="textNoShape">
                <a:avLst/>
              </a:prstTxWarp>
            </a:bodyPr>
            <a:lstStyle/>
            <a:p>
              <a:pPr eaLnBrk="0" hangingPunct="0"/>
              <a:r>
                <a:rPr lang="nb-NO" sz="900" dirty="0">
                  <a:solidFill>
                    <a:srgbClr val="000000"/>
                  </a:solidFill>
                </a:rPr>
                <a:t>Støtter behov for informasjon, forberedelser og oppfølging knyttet til timeavtaler. Fokus på logistikk og kommunikasjon. </a:t>
              </a:r>
            </a:p>
          </p:txBody>
        </p:sp>
        <p:sp>
          <p:nvSpPr>
            <p:cNvPr id="44" name="Rounded Rectangle 43"/>
            <p:cNvSpPr/>
            <p:nvPr/>
          </p:nvSpPr>
          <p:spPr bwMode="auto">
            <a:xfrm>
              <a:off x="210454" y="2234889"/>
              <a:ext cx="4226531" cy="203198"/>
            </a:xfrm>
            <a:prstGeom prst="roundRect">
              <a:avLst>
                <a:gd name="adj" fmla="val 7738"/>
              </a:avLst>
            </a:prstGeom>
            <a:solidFill>
              <a:schemeClr val="accent1"/>
            </a:solidFill>
            <a:ln w="12700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eaLnBrk="0" hangingPunct="0"/>
              <a:r>
                <a:rPr lang="nb-NO" sz="1000" b="1" dirty="0">
                  <a:solidFill>
                    <a:srgbClr val="FFFFFF"/>
                  </a:solidFill>
                </a:rPr>
                <a:t>A. Timeavtaler og administrativt</a:t>
              </a:r>
            </a:p>
          </p:txBody>
        </p:sp>
      </p:grpSp>
      <p:grpSp>
        <p:nvGrpSpPr>
          <p:cNvPr id="16" name="Gruppe 15"/>
          <p:cNvGrpSpPr/>
          <p:nvPr/>
        </p:nvGrpSpPr>
        <p:grpSpPr>
          <a:xfrm>
            <a:off x="210454" y="1714368"/>
            <a:ext cx="4357914" cy="555238"/>
            <a:chOff x="210454" y="4802982"/>
            <a:chExt cx="4357914" cy="740317"/>
          </a:xfrm>
        </p:grpSpPr>
        <p:sp>
          <p:nvSpPr>
            <p:cNvPr id="52" name="Rounded Rectangle 51"/>
            <p:cNvSpPr/>
            <p:nvPr/>
          </p:nvSpPr>
          <p:spPr bwMode="auto">
            <a:xfrm>
              <a:off x="246740" y="4839266"/>
              <a:ext cx="4321628" cy="704033"/>
            </a:xfrm>
            <a:prstGeom prst="roundRect">
              <a:avLst>
                <a:gd name="adj" fmla="val 7738"/>
              </a:avLst>
            </a:prstGeom>
            <a:noFill/>
            <a:ln w="12700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36000" tIns="216000" rIns="0" bIns="36000" numCol="1" rtlCol="0" anchor="t" anchorCtr="0" compatLnSpc="1">
              <a:prstTxWarp prst="textNoShape">
                <a:avLst/>
              </a:prstTxWarp>
            </a:bodyPr>
            <a:lstStyle/>
            <a:p>
              <a:pPr eaLnBrk="0" hangingPunct="0"/>
              <a:r>
                <a:rPr lang="nb-NO" sz="900" dirty="0">
                  <a:solidFill>
                    <a:srgbClr val="000000"/>
                  </a:solidFill>
                </a:rPr>
                <a:t>Støtter behov for bruk av digitale verktøy i symptomavklaring, behandling og oppfølging av tilstand, slik som </a:t>
              </a:r>
              <a:r>
                <a:rPr lang="nb-NO" sz="900" dirty="0" smtClean="0">
                  <a:solidFill>
                    <a:srgbClr val="000000"/>
                  </a:solidFill>
                </a:rPr>
                <a:t>f eks utveksling </a:t>
              </a:r>
              <a:r>
                <a:rPr lang="nb-NO" sz="900" dirty="0">
                  <a:solidFill>
                    <a:srgbClr val="000000"/>
                  </a:solidFill>
                </a:rPr>
                <a:t>av egenregistreringer og -målinger med </a:t>
              </a:r>
              <a:r>
                <a:rPr lang="nb-NO" sz="900" dirty="0" smtClean="0">
                  <a:solidFill>
                    <a:srgbClr val="000000"/>
                  </a:solidFill>
                </a:rPr>
                <a:t>behandler.</a:t>
              </a:r>
              <a:endParaRPr lang="nb-NO" sz="900" dirty="0">
                <a:solidFill>
                  <a:srgbClr val="000000"/>
                </a:solidFill>
              </a:endParaRPr>
            </a:p>
          </p:txBody>
        </p:sp>
        <p:sp>
          <p:nvSpPr>
            <p:cNvPr id="53" name="Rounded Rectangle 52"/>
            <p:cNvSpPr/>
            <p:nvPr/>
          </p:nvSpPr>
          <p:spPr bwMode="auto">
            <a:xfrm>
              <a:off x="210454" y="4802982"/>
              <a:ext cx="4226531" cy="203198"/>
            </a:xfrm>
            <a:prstGeom prst="roundRect">
              <a:avLst>
                <a:gd name="adj" fmla="val 7738"/>
              </a:avLst>
            </a:prstGeom>
            <a:solidFill>
              <a:schemeClr val="accent1"/>
            </a:solidFill>
            <a:ln w="12700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eaLnBrk="0" hangingPunct="0"/>
              <a:r>
                <a:rPr lang="nb-NO" sz="1000" b="1" dirty="0">
                  <a:solidFill>
                    <a:srgbClr val="FFFFFF"/>
                  </a:solidFill>
                </a:rPr>
                <a:t>B Oppfølging og behandling</a:t>
              </a:r>
            </a:p>
          </p:txBody>
        </p:sp>
      </p:grpSp>
      <p:grpSp>
        <p:nvGrpSpPr>
          <p:cNvPr id="15" name="Gruppe 14"/>
          <p:cNvGrpSpPr/>
          <p:nvPr/>
        </p:nvGrpSpPr>
        <p:grpSpPr>
          <a:xfrm>
            <a:off x="210454" y="3023127"/>
            <a:ext cx="4357914" cy="555238"/>
            <a:chOff x="210454" y="5659013"/>
            <a:chExt cx="4357914" cy="740317"/>
          </a:xfrm>
        </p:grpSpPr>
        <p:sp>
          <p:nvSpPr>
            <p:cNvPr id="55" name="Rounded Rectangle 54"/>
            <p:cNvSpPr/>
            <p:nvPr/>
          </p:nvSpPr>
          <p:spPr bwMode="auto">
            <a:xfrm>
              <a:off x="246740" y="5695297"/>
              <a:ext cx="4321628" cy="704033"/>
            </a:xfrm>
            <a:prstGeom prst="roundRect">
              <a:avLst>
                <a:gd name="adj" fmla="val 7738"/>
              </a:avLst>
            </a:prstGeom>
            <a:noFill/>
            <a:ln w="12700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36000" tIns="216000" rIns="36000" bIns="36000" numCol="1" rtlCol="0" anchor="t" anchorCtr="0" compatLnSpc="1">
              <a:prstTxWarp prst="textNoShape">
                <a:avLst/>
              </a:prstTxWarp>
            </a:bodyPr>
            <a:lstStyle/>
            <a:p>
              <a:pPr eaLnBrk="0" hangingPunct="0"/>
              <a:r>
                <a:rPr lang="nb-NO" sz="900" dirty="0">
                  <a:solidFill>
                    <a:srgbClr val="000000"/>
                  </a:solidFill>
                </a:rPr>
                <a:t>Støtter behov for person-/situasjonstilpasset informasjon ved å tilgjengeliggjøre relevant informasjon om diagnoser, behandlinger, </a:t>
              </a:r>
              <a:r>
                <a:rPr lang="nb-NO" sz="900" dirty="0" smtClean="0">
                  <a:solidFill>
                    <a:srgbClr val="000000"/>
                  </a:solidFill>
                </a:rPr>
                <a:t>øvelser og legemidler.</a:t>
              </a:r>
              <a:endParaRPr lang="nb-NO" sz="900" dirty="0">
                <a:solidFill>
                  <a:srgbClr val="000000"/>
                </a:solidFill>
              </a:endParaRPr>
            </a:p>
          </p:txBody>
        </p:sp>
        <p:sp>
          <p:nvSpPr>
            <p:cNvPr id="56" name="Rounded Rectangle 55"/>
            <p:cNvSpPr/>
            <p:nvPr/>
          </p:nvSpPr>
          <p:spPr bwMode="auto">
            <a:xfrm>
              <a:off x="210454" y="5659013"/>
              <a:ext cx="4226531" cy="203198"/>
            </a:xfrm>
            <a:prstGeom prst="roundRect">
              <a:avLst>
                <a:gd name="adj" fmla="val 7738"/>
              </a:avLst>
            </a:prstGeom>
            <a:solidFill>
              <a:schemeClr val="accent1"/>
            </a:solidFill>
            <a:ln w="12700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eaLnBrk="0" hangingPunct="0"/>
              <a:r>
                <a:rPr lang="nb-NO" sz="1000" b="1" dirty="0">
                  <a:solidFill>
                    <a:srgbClr val="FFFFFF"/>
                  </a:solidFill>
                </a:rPr>
                <a:t>D. Personlig kunnskapssenter</a:t>
              </a:r>
            </a:p>
          </p:txBody>
        </p:sp>
      </p:grpSp>
      <p:grpSp>
        <p:nvGrpSpPr>
          <p:cNvPr id="14" name="Gruppe 13"/>
          <p:cNvGrpSpPr/>
          <p:nvPr/>
        </p:nvGrpSpPr>
        <p:grpSpPr>
          <a:xfrm>
            <a:off x="4708874" y="1069017"/>
            <a:ext cx="4357914" cy="555238"/>
            <a:chOff x="4708874" y="1378857"/>
            <a:chExt cx="4357914" cy="722885"/>
          </a:xfrm>
        </p:grpSpPr>
        <p:sp>
          <p:nvSpPr>
            <p:cNvPr id="58" name="Rounded Rectangle 57"/>
            <p:cNvSpPr/>
            <p:nvPr/>
          </p:nvSpPr>
          <p:spPr bwMode="auto">
            <a:xfrm>
              <a:off x="4745160" y="1415141"/>
              <a:ext cx="4321628" cy="686601"/>
            </a:xfrm>
            <a:prstGeom prst="roundRect">
              <a:avLst>
                <a:gd name="adj" fmla="val 7738"/>
              </a:avLst>
            </a:prstGeom>
            <a:noFill/>
            <a:ln w="12700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36000" tIns="216000" rIns="36000" bIns="36000" numCol="1" rtlCol="0" anchor="t" anchorCtr="0" compatLnSpc="1">
              <a:prstTxWarp prst="textNoShape">
                <a:avLst/>
              </a:prstTxWarp>
            </a:bodyPr>
            <a:lstStyle/>
            <a:p>
              <a:pPr eaLnBrk="0" hangingPunct="0"/>
              <a:r>
                <a:rPr lang="nb-NO" sz="900" dirty="0">
                  <a:solidFill>
                    <a:srgbClr val="000000"/>
                  </a:solidFill>
                </a:rPr>
                <a:t>Støtter behov for oversikt over pasientens forløp. Henvisning, standardisert og personlig/planlagt behandlingsforløp i forhold til faktisk forløp. </a:t>
              </a:r>
              <a:r>
                <a:rPr lang="nb-NO" sz="900" dirty="0" smtClean="0">
                  <a:solidFill>
                    <a:srgbClr val="000000"/>
                  </a:solidFill>
                </a:rPr>
                <a:t>Beslutningsstøtte.</a:t>
              </a:r>
              <a:endParaRPr lang="nb-NO" sz="900" dirty="0">
                <a:solidFill>
                  <a:srgbClr val="000000"/>
                </a:solidFill>
              </a:endParaRPr>
            </a:p>
          </p:txBody>
        </p:sp>
        <p:sp>
          <p:nvSpPr>
            <p:cNvPr id="59" name="Rounded Rectangle 58"/>
            <p:cNvSpPr/>
            <p:nvPr/>
          </p:nvSpPr>
          <p:spPr bwMode="auto">
            <a:xfrm>
              <a:off x="4708874" y="1378857"/>
              <a:ext cx="4226531" cy="203198"/>
            </a:xfrm>
            <a:prstGeom prst="roundRect">
              <a:avLst>
                <a:gd name="adj" fmla="val 7738"/>
              </a:avLst>
            </a:prstGeom>
            <a:solidFill>
              <a:schemeClr val="accent1"/>
            </a:solidFill>
            <a:ln w="12700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eaLnBrk="0" hangingPunct="0"/>
              <a:r>
                <a:rPr lang="nb-NO" sz="1000" b="1" dirty="0">
                  <a:solidFill>
                    <a:srgbClr val="FFFFFF"/>
                  </a:solidFill>
                </a:rPr>
                <a:t>G. Pasientforløp</a:t>
              </a:r>
            </a:p>
          </p:txBody>
        </p:sp>
      </p:grpSp>
      <p:grpSp>
        <p:nvGrpSpPr>
          <p:cNvPr id="12" name="Gruppe 11"/>
          <p:cNvGrpSpPr/>
          <p:nvPr/>
        </p:nvGrpSpPr>
        <p:grpSpPr>
          <a:xfrm>
            <a:off x="4714586" y="1723787"/>
            <a:ext cx="4357914" cy="555238"/>
            <a:chOff x="4714586" y="2234888"/>
            <a:chExt cx="4357914" cy="722885"/>
          </a:xfrm>
        </p:grpSpPr>
        <p:sp>
          <p:nvSpPr>
            <p:cNvPr id="22" name="Rounded Rectangle 45"/>
            <p:cNvSpPr/>
            <p:nvPr/>
          </p:nvSpPr>
          <p:spPr bwMode="auto">
            <a:xfrm>
              <a:off x="4750872" y="2271172"/>
              <a:ext cx="4321628" cy="686601"/>
            </a:xfrm>
            <a:prstGeom prst="roundRect">
              <a:avLst>
                <a:gd name="adj" fmla="val 7738"/>
              </a:avLst>
            </a:prstGeom>
            <a:noFill/>
            <a:ln w="12700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36000" tIns="216000" rIns="36000" bIns="36000" numCol="1" rtlCol="0" anchor="t" anchorCtr="0" compatLnSpc="1">
              <a:prstTxWarp prst="textNoShape">
                <a:avLst/>
              </a:prstTxWarp>
            </a:bodyPr>
            <a:lstStyle/>
            <a:p>
              <a:pPr eaLnBrk="0" hangingPunct="0"/>
              <a:r>
                <a:rPr lang="nb-NO" sz="900" dirty="0">
                  <a:solidFill>
                    <a:srgbClr val="000000"/>
                  </a:solidFill>
                </a:rPr>
                <a:t>Støtter behov for person-/situasjonstilpasset veiledning ved å tilgjengeliggjøre relevant informasjon om rettigheter f.eks. relatert til fristbrudd, vedtak, diagnose. </a:t>
              </a:r>
            </a:p>
          </p:txBody>
        </p:sp>
        <p:sp>
          <p:nvSpPr>
            <p:cNvPr id="23" name="Rounded Rectangle 46"/>
            <p:cNvSpPr/>
            <p:nvPr/>
          </p:nvSpPr>
          <p:spPr bwMode="auto">
            <a:xfrm>
              <a:off x="4714586" y="2234888"/>
              <a:ext cx="4226531" cy="203198"/>
            </a:xfrm>
            <a:prstGeom prst="roundRect">
              <a:avLst>
                <a:gd name="adj" fmla="val 7738"/>
              </a:avLst>
            </a:prstGeom>
            <a:solidFill>
              <a:schemeClr val="accent1"/>
            </a:solidFill>
            <a:ln w="12700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eaLnBrk="0" hangingPunct="0"/>
              <a:r>
                <a:rPr lang="nb-NO" sz="1000" b="1" dirty="0">
                  <a:solidFill>
                    <a:srgbClr val="FFFFFF"/>
                  </a:solidFill>
                </a:rPr>
                <a:t>H. Rettigheter og økonomi</a:t>
              </a:r>
            </a:p>
          </p:txBody>
        </p:sp>
      </p:grpSp>
      <p:grpSp>
        <p:nvGrpSpPr>
          <p:cNvPr id="11" name="Gruppe 10"/>
          <p:cNvGrpSpPr/>
          <p:nvPr/>
        </p:nvGrpSpPr>
        <p:grpSpPr>
          <a:xfrm>
            <a:off x="4714586" y="2378556"/>
            <a:ext cx="4357914" cy="555238"/>
            <a:chOff x="4714586" y="3090919"/>
            <a:chExt cx="4357914" cy="722885"/>
          </a:xfrm>
        </p:grpSpPr>
        <p:sp>
          <p:nvSpPr>
            <p:cNvPr id="25" name="Rounded Rectangle 48"/>
            <p:cNvSpPr/>
            <p:nvPr/>
          </p:nvSpPr>
          <p:spPr bwMode="auto">
            <a:xfrm>
              <a:off x="4750872" y="3127203"/>
              <a:ext cx="4321628" cy="686601"/>
            </a:xfrm>
            <a:prstGeom prst="roundRect">
              <a:avLst>
                <a:gd name="adj" fmla="val 7738"/>
              </a:avLst>
            </a:prstGeom>
            <a:noFill/>
            <a:ln w="12700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36000" tIns="216000" rIns="36000" bIns="36000" numCol="1" rtlCol="0" anchor="t" anchorCtr="0" compatLnSpc="1">
              <a:prstTxWarp prst="textNoShape">
                <a:avLst/>
              </a:prstTxWarp>
            </a:bodyPr>
            <a:lstStyle/>
            <a:p>
              <a:pPr eaLnBrk="0" hangingPunct="0"/>
              <a:r>
                <a:rPr lang="nb-NO" sz="900" dirty="0">
                  <a:solidFill>
                    <a:srgbClr val="000000"/>
                  </a:solidFill>
                </a:rPr>
                <a:t>Støtter behov for samhandling i grupper innen behandlingsløp og i forbindelse med individuell plan. Grupperom for utarbeiding/oppfølging av plan og deling av informasjon. </a:t>
              </a:r>
              <a:endParaRPr lang="nb-NO" sz="900" dirty="0">
                <a:solidFill>
                  <a:srgbClr val="FF0000"/>
                </a:solidFill>
              </a:endParaRPr>
            </a:p>
          </p:txBody>
        </p:sp>
        <p:sp>
          <p:nvSpPr>
            <p:cNvPr id="26" name="Rounded Rectangle 49"/>
            <p:cNvSpPr/>
            <p:nvPr/>
          </p:nvSpPr>
          <p:spPr bwMode="auto">
            <a:xfrm>
              <a:off x="4714586" y="3090919"/>
              <a:ext cx="4226531" cy="203198"/>
            </a:xfrm>
            <a:prstGeom prst="roundRect">
              <a:avLst>
                <a:gd name="adj" fmla="val 7738"/>
              </a:avLst>
            </a:prstGeom>
            <a:solidFill>
              <a:schemeClr val="accent1"/>
            </a:solidFill>
            <a:ln w="12700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eaLnBrk="0" hangingPunct="0"/>
              <a:r>
                <a:rPr lang="nb-NO" sz="1000" b="1" dirty="0">
                  <a:solidFill>
                    <a:srgbClr val="FFFFFF"/>
                  </a:solidFill>
                </a:rPr>
                <a:t>I. Samhandlingsarena</a:t>
              </a:r>
            </a:p>
          </p:txBody>
        </p:sp>
      </p:grpSp>
      <p:grpSp>
        <p:nvGrpSpPr>
          <p:cNvPr id="73" name="Gruppe 72"/>
          <p:cNvGrpSpPr/>
          <p:nvPr/>
        </p:nvGrpSpPr>
        <p:grpSpPr>
          <a:xfrm>
            <a:off x="4708874" y="3033327"/>
            <a:ext cx="4357914" cy="555238"/>
            <a:chOff x="4714586" y="5659013"/>
            <a:chExt cx="4357914" cy="740317"/>
          </a:xfrm>
        </p:grpSpPr>
        <p:sp>
          <p:nvSpPr>
            <p:cNvPr id="74" name="Rounded Rectangle 57"/>
            <p:cNvSpPr/>
            <p:nvPr/>
          </p:nvSpPr>
          <p:spPr bwMode="auto">
            <a:xfrm>
              <a:off x="4750872" y="5695297"/>
              <a:ext cx="4321628" cy="704033"/>
            </a:xfrm>
            <a:prstGeom prst="roundRect">
              <a:avLst>
                <a:gd name="adj" fmla="val 7738"/>
              </a:avLst>
            </a:prstGeom>
            <a:noFill/>
            <a:ln w="12700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36000" tIns="216000" rIns="36000" bIns="36000" numCol="1" rtlCol="0" anchor="t" anchorCtr="0" compatLnSpc="1">
              <a:prstTxWarp prst="textNoShape">
                <a:avLst/>
              </a:prstTxWarp>
            </a:bodyPr>
            <a:lstStyle/>
            <a:p>
              <a:pPr eaLnBrk="0" hangingPunct="0"/>
              <a:r>
                <a:rPr lang="nb-NO" sz="900" dirty="0">
                  <a:solidFill>
                    <a:srgbClr val="000000"/>
                  </a:solidFill>
                </a:rPr>
                <a:t>Støtter innbyggers behov for å gi fullmakt til at andre kan agere på egne vegne, til å samtykke til innsyn i/utlevering av egne data, for eksempel til </a:t>
              </a:r>
              <a:r>
                <a:rPr lang="nb-NO" sz="900" dirty="0" smtClean="0">
                  <a:solidFill>
                    <a:srgbClr val="000000"/>
                  </a:solidFill>
                </a:rPr>
                <a:t>forskningsformål.</a:t>
              </a:r>
              <a:endParaRPr lang="nb-NO" sz="900" dirty="0">
                <a:solidFill>
                  <a:srgbClr val="000000"/>
                </a:solidFill>
              </a:endParaRPr>
            </a:p>
          </p:txBody>
        </p:sp>
        <p:sp>
          <p:nvSpPr>
            <p:cNvPr id="75" name="Rounded Rectangle 58"/>
            <p:cNvSpPr/>
            <p:nvPr/>
          </p:nvSpPr>
          <p:spPr bwMode="auto">
            <a:xfrm>
              <a:off x="4714586" y="5659013"/>
              <a:ext cx="4226531" cy="203198"/>
            </a:xfrm>
            <a:prstGeom prst="roundRect">
              <a:avLst>
                <a:gd name="adj" fmla="val 7738"/>
              </a:avLst>
            </a:prstGeom>
            <a:solidFill>
              <a:schemeClr val="accent1"/>
            </a:solidFill>
            <a:ln w="12700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eaLnBrk="0" hangingPunct="0"/>
              <a:r>
                <a:rPr lang="nb-NO" sz="1000" b="1" dirty="0">
                  <a:solidFill>
                    <a:srgbClr val="FFFFFF"/>
                  </a:solidFill>
                </a:rPr>
                <a:t>J. Personvern og tilgangsstyring</a:t>
              </a:r>
            </a:p>
          </p:txBody>
        </p:sp>
      </p:grpSp>
      <p:grpSp>
        <p:nvGrpSpPr>
          <p:cNvPr id="80" name="Gruppe 79"/>
          <p:cNvGrpSpPr/>
          <p:nvPr/>
        </p:nvGrpSpPr>
        <p:grpSpPr>
          <a:xfrm>
            <a:off x="210454" y="2370542"/>
            <a:ext cx="4357914" cy="555238"/>
            <a:chOff x="210454" y="4802982"/>
            <a:chExt cx="4357914" cy="740317"/>
          </a:xfrm>
        </p:grpSpPr>
        <p:sp>
          <p:nvSpPr>
            <p:cNvPr id="81" name="Rounded Rectangle 51"/>
            <p:cNvSpPr/>
            <p:nvPr/>
          </p:nvSpPr>
          <p:spPr bwMode="auto">
            <a:xfrm>
              <a:off x="246740" y="4839266"/>
              <a:ext cx="4321628" cy="704033"/>
            </a:xfrm>
            <a:prstGeom prst="roundRect">
              <a:avLst>
                <a:gd name="adj" fmla="val 7738"/>
              </a:avLst>
            </a:prstGeom>
            <a:noFill/>
            <a:ln w="12700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36000" tIns="216000" rIns="0" bIns="36000" numCol="1" rtlCol="0" anchor="t" anchorCtr="0" compatLnSpc="1">
              <a:prstTxWarp prst="textNoShape">
                <a:avLst/>
              </a:prstTxWarp>
            </a:bodyPr>
            <a:lstStyle/>
            <a:p>
              <a:pPr eaLnBrk="0" hangingPunct="0"/>
              <a:r>
                <a:rPr lang="nb-NO" sz="900" dirty="0">
                  <a:solidFill>
                    <a:srgbClr val="000000"/>
                  </a:solidFill>
                </a:rPr>
                <a:t>Støtter behov for å logge og ha tilgang til strukturert informasjon om egen helse. Opplysninger om diagnose, behandlinger, legemidler, symptomer </a:t>
              </a:r>
              <a:r>
                <a:rPr lang="nb-NO" sz="900" dirty="0" smtClean="0">
                  <a:solidFill>
                    <a:srgbClr val="000000"/>
                  </a:solidFill>
                </a:rPr>
                <a:t>mm.</a:t>
              </a:r>
              <a:endParaRPr lang="nb-NO" sz="900" dirty="0">
                <a:solidFill>
                  <a:srgbClr val="000000"/>
                </a:solidFill>
              </a:endParaRPr>
            </a:p>
          </p:txBody>
        </p:sp>
        <p:sp>
          <p:nvSpPr>
            <p:cNvPr id="82" name="Rounded Rectangle 52"/>
            <p:cNvSpPr/>
            <p:nvPr/>
          </p:nvSpPr>
          <p:spPr bwMode="auto">
            <a:xfrm>
              <a:off x="210454" y="4802982"/>
              <a:ext cx="4226531" cy="203198"/>
            </a:xfrm>
            <a:prstGeom prst="roundRect">
              <a:avLst>
                <a:gd name="adj" fmla="val 7738"/>
              </a:avLst>
            </a:prstGeom>
            <a:solidFill>
              <a:schemeClr val="accent1"/>
            </a:solidFill>
            <a:ln w="12700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eaLnBrk="0" hangingPunct="0"/>
              <a:r>
                <a:rPr lang="nb-NO" sz="1000" b="1" dirty="0">
                  <a:solidFill>
                    <a:srgbClr val="FFFFFF"/>
                  </a:solidFill>
                </a:rPr>
                <a:t>C. Oversikt over egen helsetilstand</a:t>
              </a:r>
            </a:p>
          </p:txBody>
        </p:sp>
      </p:grpSp>
      <p:sp>
        <p:nvSpPr>
          <p:cNvPr id="83" name="Rounded Rectangle 51"/>
          <p:cNvSpPr/>
          <p:nvPr/>
        </p:nvSpPr>
        <p:spPr bwMode="auto">
          <a:xfrm>
            <a:off x="4708874" y="4330483"/>
            <a:ext cx="4363626" cy="559610"/>
          </a:xfrm>
          <a:prstGeom prst="roundRect">
            <a:avLst>
              <a:gd name="adj" fmla="val 6682"/>
            </a:avLst>
          </a:prstGeom>
          <a:solidFill>
            <a:srgbClr val="41233B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08000" tIns="72000" rIns="72000" bIns="72000" numCol="1" rtlCol="0" anchor="ctr" anchorCtr="0" compatLnSpc="1">
            <a:prstTxWarp prst="textNoShape">
              <a:avLst/>
            </a:prstTxWarp>
          </a:bodyPr>
          <a:lstStyle/>
          <a:p>
            <a:pPr eaLnBrk="0" hangingPunct="0"/>
            <a:r>
              <a:rPr lang="nb-NO" sz="1050" dirty="0">
                <a:solidFill>
                  <a:srgbClr val="FFFFFF"/>
                </a:solidFill>
              </a:rPr>
              <a:t>Tjenestene benytter et sett med felles løsningskomponenter, slik som personlig helsearkiv, meldingsformidler og fullmaktregister.</a:t>
            </a:r>
          </a:p>
        </p:txBody>
      </p:sp>
    </p:spTree>
    <p:extLst>
      <p:ext uri="{BB962C8B-B14F-4D97-AF65-F5344CB8AC3E}">
        <p14:creationId xmlns:p14="http://schemas.microsoft.com/office/powerpoint/2010/main" val="20596435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reeform 4"/>
          <p:cNvSpPr>
            <a:spLocks/>
          </p:cNvSpPr>
          <p:nvPr/>
        </p:nvSpPr>
        <p:spPr bwMode="auto">
          <a:xfrm>
            <a:off x="1637206" y="85326"/>
            <a:ext cx="7059199" cy="3652864"/>
          </a:xfrm>
          <a:custGeom>
            <a:avLst/>
            <a:gdLst>
              <a:gd name="T0" fmla="*/ 23812 w 4369"/>
              <a:gd name="T1" fmla="*/ 0 h 2366"/>
              <a:gd name="T2" fmla="*/ 23812 w 4369"/>
              <a:gd name="T3" fmla="*/ 576262 h 2366"/>
              <a:gd name="T4" fmla="*/ 168275 w 4369"/>
              <a:gd name="T5" fmla="*/ 1296987 h 2366"/>
              <a:gd name="T6" fmla="*/ 960438 w 4369"/>
              <a:gd name="T7" fmla="*/ 2736850 h 2366"/>
              <a:gd name="T8" fmla="*/ 2255836 w 4369"/>
              <a:gd name="T9" fmla="*/ 3457574 h 2366"/>
              <a:gd name="T10" fmla="*/ 3911599 w 4369"/>
              <a:gd name="T11" fmla="*/ 3673473 h 2366"/>
              <a:gd name="T12" fmla="*/ 5640383 w 4369"/>
              <a:gd name="T13" fmla="*/ 3744911 h 2366"/>
              <a:gd name="T14" fmla="*/ 6935787 w 4369"/>
              <a:gd name="T15" fmla="*/ 3744911 h 236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4369"/>
              <a:gd name="T25" fmla="*/ 0 h 2366"/>
              <a:gd name="T26" fmla="*/ 4369 w 4369"/>
              <a:gd name="T27" fmla="*/ 2366 h 2366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4369" h="2366">
                <a:moveTo>
                  <a:pt x="15" y="0"/>
                </a:moveTo>
                <a:cubicBezTo>
                  <a:pt x="7" y="113"/>
                  <a:pt x="0" y="227"/>
                  <a:pt x="15" y="363"/>
                </a:cubicBezTo>
                <a:cubicBezTo>
                  <a:pt x="30" y="499"/>
                  <a:pt x="8" y="590"/>
                  <a:pt x="106" y="817"/>
                </a:cubicBezTo>
                <a:cubicBezTo>
                  <a:pt x="204" y="1044"/>
                  <a:pt x="386" y="1497"/>
                  <a:pt x="605" y="1724"/>
                </a:cubicBezTo>
                <a:cubicBezTo>
                  <a:pt x="824" y="1951"/>
                  <a:pt x="1111" y="2080"/>
                  <a:pt x="1421" y="2178"/>
                </a:cubicBezTo>
                <a:cubicBezTo>
                  <a:pt x="1731" y="2276"/>
                  <a:pt x="2109" y="2284"/>
                  <a:pt x="2464" y="2314"/>
                </a:cubicBezTo>
                <a:cubicBezTo>
                  <a:pt x="2819" y="2344"/>
                  <a:pt x="3236" y="2352"/>
                  <a:pt x="3553" y="2359"/>
                </a:cubicBezTo>
                <a:cubicBezTo>
                  <a:pt x="3870" y="2366"/>
                  <a:pt x="4119" y="2362"/>
                  <a:pt x="4369" y="2359"/>
                </a:cubicBez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85128" tIns="42565" rIns="85128" bIns="42565"/>
          <a:lstStyle/>
          <a:p>
            <a:pPr defTabSz="851415"/>
            <a:endParaRPr lang="nb-NO" sz="1539">
              <a:solidFill>
                <a:prstClr val="black"/>
              </a:solidFill>
              <a:ea typeface="MS PGothic" panose="020B0600070205080204" pitchFamily="34" charset="-128"/>
            </a:endParaRPr>
          </a:p>
        </p:txBody>
      </p:sp>
      <p:sp>
        <p:nvSpPr>
          <p:cNvPr id="10" name="Freeform 5"/>
          <p:cNvSpPr>
            <a:spLocks/>
          </p:cNvSpPr>
          <p:nvPr/>
        </p:nvSpPr>
        <p:spPr bwMode="auto">
          <a:xfrm>
            <a:off x="3348295" y="15826"/>
            <a:ext cx="5569481" cy="2334374"/>
          </a:xfrm>
          <a:custGeom>
            <a:avLst/>
            <a:gdLst>
              <a:gd name="T0" fmla="*/ 71437 w 3447"/>
              <a:gd name="T1" fmla="*/ 0 h 1512"/>
              <a:gd name="T2" fmla="*/ 71437 w 3447"/>
              <a:gd name="T3" fmla="*/ 576263 h 1512"/>
              <a:gd name="T4" fmla="*/ 503238 w 3447"/>
              <a:gd name="T5" fmla="*/ 1584325 h 1512"/>
              <a:gd name="T6" fmla="*/ 2016125 w 3447"/>
              <a:gd name="T7" fmla="*/ 2232024 h 1512"/>
              <a:gd name="T8" fmla="*/ 3816350 w 3447"/>
              <a:gd name="T9" fmla="*/ 2376488 h 1512"/>
              <a:gd name="T10" fmla="*/ 5472112 w 3447"/>
              <a:gd name="T11" fmla="*/ 2376488 h 1512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3447"/>
              <a:gd name="T19" fmla="*/ 0 h 1512"/>
              <a:gd name="T20" fmla="*/ 3447 w 3447"/>
              <a:gd name="T21" fmla="*/ 1512 h 1512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3447" h="1512">
                <a:moveTo>
                  <a:pt x="45" y="0"/>
                </a:moveTo>
                <a:cubicBezTo>
                  <a:pt x="22" y="98"/>
                  <a:pt x="0" y="197"/>
                  <a:pt x="45" y="363"/>
                </a:cubicBezTo>
                <a:cubicBezTo>
                  <a:pt x="90" y="529"/>
                  <a:pt x="113" y="824"/>
                  <a:pt x="317" y="998"/>
                </a:cubicBezTo>
                <a:cubicBezTo>
                  <a:pt x="521" y="1172"/>
                  <a:pt x="922" y="1323"/>
                  <a:pt x="1270" y="1406"/>
                </a:cubicBezTo>
                <a:cubicBezTo>
                  <a:pt x="1618" y="1489"/>
                  <a:pt x="2041" y="1482"/>
                  <a:pt x="2404" y="1497"/>
                </a:cubicBezTo>
                <a:cubicBezTo>
                  <a:pt x="2767" y="1512"/>
                  <a:pt x="3107" y="1504"/>
                  <a:pt x="3447" y="1497"/>
                </a:cubicBez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85128" tIns="42565" rIns="85128" bIns="42565"/>
          <a:lstStyle/>
          <a:p>
            <a:pPr defTabSz="851415"/>
            <a:endParaRPr lang="nb-NO" sz="1539">
              <a:solidFill>
                <a:prstClr val="black"/>
              </a:solidFill>
              <a:ea typeface="MS PGothic" panose="020B0600070205080204" pitchFamily="34" charset="-128"/>
            </a:endParaRPr>
          </a:p>
        </p:txBody>
      </p:sp>
      <p:sp>
        <p:nvSpPr>
          <p:cNvPr id="11" name="Freeform 7"/>
          <p:cNvSpPr>
            <a:spLocks/>
          </p:cNvSpPr>
          <p:nvPr/>
        </p:nvSpPr>
        <p:spPr bwMode="auto">
          <a:xfrm>
            <a:off x="3762487" y="361638"/>
            <a:ext cx="5129997" cy="2521186"/>
          </a:xfrm>
          <a:custGeom>
            <a:avLst/>
            <a:gdLst>
              <a:gd name="T0" fmla="*/ 0 w 3175"/>
              <a:gd name="T1" fmla="*/ 0 h 1633"/>
              <a:gd name="T2" fmla="*/ 1008063 w 3175"/>
              <a:gd name="T3" fmla="*/ 2160586 h 1633"/>
              <a:gd name="T4" fmla="*/ 5040312 w 3175"/>
              <a:gd name="T5" fmla="*/ 2592386 h 1633"/>
              <a:gd name="T6" fmla="*/ 0 60000 65536"/>
              <a:gd name="T7" fmla="*/ 0 60000 65536"/>
              <a:gd name="T8" fmla="*/ 0 60000 65536"/>
              <a:gd name="T9" fmla="*/ 0 w 3175"/>
              <a:gd name="T10" fmla="*/ 0 h 1633"/>
              <a:gd name="T11" fmla="*/ 3175 w 3175"/>
              <a:gd name="T12" fmla="*/ 1633 h 1633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3175" h="1633">
                <a:moveTo>
                  <a:pt x="0" y="0"/>
                </a:moveTo>
                <a:cubicBezTo>
                  <a:pt x="53" y="544"/>
                  <a:pt x="106" y="1089"/>
                  <a:pt x="635" y="1361"/>
                </a:cubicBezTo>
                <a:cubicBezTo>
                  <a:pt x="1164" y="1633"/>
                  <a:pt x="2169" y="1633"/>
                  <a:pt x="3175" y="1633"/>
                </a:cubicBezTo>
              </a:path>
            </a:pathLst>
          </a:cu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85128" tIns="42565" rIns="85128" bIns="42565"/>
          <a:lstStyle/>
          <a:p>
            <a:pPr defTabSz="851415"/>
            <a:endParaRPr lang="nb-NO" sz="1539">
              <a:solidFill>
                <a:prstClr val="black"/>
              </a:solidFill>
              <a:ea typeface="MS PGothic" panose="020B0600070205080204" pitchFamily="34" charset="-128"/>
            </a:endParaRPr>
          </a:p>
        </p:txBody>
      </p:sp>
      <p:sp>
        <p:nvSpPr>
          <p:cNvPr id="12" name="Freeform 8"/>
          <p:cNvSpPr>
            <a:spLocks/>
          </p:cNvSpPr>
          <p:nvPr/>
        </p:nvSpPr>
        <p:spPr bwMode="auto">
          <a:xfrm>
            <a:off x="1966946" y="527879"/>
            <a:ext cx="6853995" cy="3666253"/>
          </a:xfrm>
          <a:custGeom>
            <a:avLst/>
            <a:gdLst>
              <a:gd name="T0" fmla="*/ 0 w 4491"/>
              <a:gd name="T1" fmla="*/ 0 h 2268"/>
              <a:gd name="T2" fmla="*/ 1223962 w 4491"/>
              <a:gd name="T3" fmla="*/ 2808286 h 2268"/>
              <a:gd name="T4" fmla="*/ 7129459 w 4491"/>
              <a:gd name="T5" fmla="*/ 3600449 h 2268"/>
              <a:gd name="T6" fmla="*/ 0 60000 65536"/>
              <a:gd name="T7" fmla="*/ 0 60000 65536"/>
              <a:gd name="T8" fmla="*/ 0 60000 65536"/>
              <a:gd name="T9" fmla="*/ 0 w 4491"/>
              <a:gd name="T10" fmla="*/ 0 h 2268"/>
              <a:gd name="T11" fmla="*/ 4491 w 4491"/>
              <a:gd name="T12" fmla="*/ 2268 h 2268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4491" h="2268">
                <a:moveTo>
                  <a:pt x="0" y="0"/>
                </a:moveTo>
                <a:cubicBezTo>
                  <a:pt x="11" y="695"/>
                  <a:pt x="22" y="1391"/>
                  <a:pt x="771" y="1769"/>
                </a:cubicBezTo>
                <a:cubicBezTo>
                  <a:pt x="1520" y="2147"/>
                  <a:pt x="3005" y="2207"/>
                  <a:pt x="4491" y="2268"/>
                </a:cubicBezTo>
              </a:path>
            </a:pathLst>
          </a:cu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85128" tIns="42565" rIns="85128" bIns="42565"/>
          <a:lstStyle/>
          <a:p>
            <a:pPr defTabSz="851415"/>
            <a:endParaRPr lang="nb-NO" sz="1539">
              <a:solidFill>
                <a:prstClr val="black"/>
              </a:solidFill>
              <a:ea typeface="MS PGothic" panose="020B0600070205080204" pitchFamily="34" charset="-128"/>
            </a:endParaRPr>
          </a:p>
        </p:txBody>
      </p:sp>
      <p:sp>
        <p:nvSpPr>
          <p:cNvPr id="14" name="Line 10"/>
          <p:cNvSpPr>
            <a:spLocks noChangeShapeType="1"/>
          </p:cNvSpPr>
          <p:nvPr/>
        </p:nvSpPr>
        <p:spPr bwMode="auto">
          <a:xfrm flipH="1" flipV="1">
            <a:off x="8828855" y="955033"/>
            <a:ext cx="46366" cy="3872599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85128" tIns="42565" rIns="85128" bIns="42565"/>
          <a:lstStyle/>
          <a:p>
            <a:pPr defTabSz="851415"/>
            <a:endParaRPr lang="nb-NO" sz="1454">
              <a:solidFill>
                <a:prstClr val="black"/>
              </a:solidFill>
              <a:ea typeface="MS PGothic" panose="020B0600070205080204" pitchFamily="34" charset="-128"/>
            </a:endParaRPr>
          </a:p>
        </p:txBody>
      </p:sp>
      <p:sp>
        <p:nvSpPr>
          <p:cNvPr id="16" name="Line 12"/>
          <p:cNvSpPr>
            <a:spLocks noChangeShapeType="1"/>
          </p:cNvSpPr>
          <p:nvPr/>
        </p:nvSpPr>
        <p:spPr bwMode="auto">
          <a:xfrm flipH="1">
            <a:off x="506013" y="156297"/>
            <a:ext cx="21172" cy="4671335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85128" tIns="42565" rIns="85128" bIns="42565"/>
          <a:lstStyle/>
          <a:p>
            <a:pPr defTabSz="851415"/>
            <a:endParaRPr lang="nb-NO" sz="1539">
              <a:solidFill>
                <a:prstClr val="black"/>
              </a:solidFill>
              <a:ea typeface="MS PGothic" panose="020B0600070205080204" pitchFamily="34" charset="-128"/>
            </a:endParaRPr>
          </a:p>
        </p:txBody>
      </p:sp>
      <p:sp>
        <p:nvSpPr>
          <p:cNvPr id="17" name="Line 13"/>
          <p:cNvSpPr>
            <a:spLocks noChangeShapeType="1"/>
          </p:cNvSpPr>
          <p:nvPr/>
        </p:nvSpPr>
        <p:spPr bwMode="auto">
          <a:xfrm flipV="1">
            <a:off x="527286" y="4827630"/>
            <a:ext cx="8347936" cy="15342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85128" tIns="42565" rIns="85128" bIns="42565"/>
          <a:lstStyle/>
          <a:p>
            <a:pPr defTabSz="851415"/>
            <a:endParaRPr lang="nb-NO" sz="1454">
              <a:solidFill>
                <a:prstClr val="black"/>
              </a:solidFill>
              <a:ea typeface="MS PGothic" panose="020B0600070205080204" pitchFamily="34" charset="-128"/>
            </a:endParaRPr>
          </a:p>
        </p:txBody>
      </p:sp>
      <p:sp>
        <p:nvSpPr>
          <p:cNvPr id="18" name="Line 14"/>
          <p:cNvSpPr>
            <a:spLocks noChangeShapeType="1"/>
          </p:cNvSpPr>
          <p:nvPr/>
        </p:nvSpPr>
        <p:spPr bwMode="auto">
          <a:xfrm flipV="1">
            <a:off x="525544" y="500387"/>
            <a:ext cx="6597122" cy="80399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85128" tIns="42565" rIns="85128" bIns="42565"/>
          <a:lstStyle/>
          <a:p>
            <a:pPr defTabSz="851415"/>
            <a:endParaRPr lang="nb-NO" sz="1539">
              <a:solidFill>
                <a:prstClr val="black"/>
              </a:solidFill>
              <a:ea typeface="MS PGothic" panose="020B0600070205080204" pitchFamily="34" charset="-128"/>
            </a:endParaRPr>
          </a:p>
        </p:txBody>
      </p:sp>
      <p:sp>
        <p:nvSpPr>
          <p:cNvPr id="19" name="Line 15"/>
          <p:cNvSpPr>
            <a:spLocks noChangeShapeType="1"/>
          </p:cNvSpPr>
          <p:nvPr/>
        </p:nvSpPr>
        <p:spPr bwMode="auto">
          <a:xfrm flipV="1">
            <a:off x="2053986" y="934468"/>
            <a:ext cx="5180494" cy="3908504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85128" tIns="42565" rIns="85128" bIns="42565"/>
          <a:lstStyle/>
          <a:p>
            <a:pPr defTabSz="851415"/>
            <a:endParaRPr lang="nb-NO" sz="1454">
              <a:solidFill>
                <a:prstClr val="black"/>
              </a:solidFill>
              <a:ea typeface="MS PGothic" panose="020B0600070205080204" pitchFamily="34" charset="-128"/>
            </a:endParaRPr>
          </a:p>
        </p:txBody>
      </p:sp>
      <p:sp>
        <p:nvSpPr>
          <p:cNvPr id="22" name="Text Box 18"/>
          <p:cNvSpPr txBox="1">
            <a:spLocks noChangeArrowheads="1"/>
          </p:cNvSpPr>
          <p:nvPr/>
        </p:nvSpPr>
        <p:spPr bwMode="auto">
          <a:xfrm>
            <a:off x="-39668" y="756184"/>
            <a:ext cx="566770" cy="14462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eaVert" wrap="square" lIns="85128" tIns="42565" rIns="85128" bIns="42565">
            <a:spAutoFit/>
          </a:bodyPr>
          <a:lstStyle>
            <a:lvl1pPr>
              <a:defRPr>
                <a:solidFill>
                  <a:schemeClr val="bg1"/>
                </a:solidFill>
                <a:latin typeface="Times"/>
                <a:ea typeface="MS PGothic" pitchFamily="34" charset="-128"/>
              </a:defRPr>
            </a:lvl1pPr>
            <a:lvl2pPr marL="742950" indent="-285750">
              <a:defRPr>
                <a:solidFill>
                  <a:schemeClr val="bg1"/>
                </a:solidFill>
                <a:latin typeface="Times"/>
                <a:ea typeface="MS PGothic" pitchFamily="34" charset="-128"/>
              </a:defRPr>
            </a:lvl2pPr>
            <a:lvl3pPr marL="1143000" indent="-228600">
              <a:defRPr>
                <a:solidFill>
                  <a:schemeClr val="bg1"/>
                </a:solidFill>
                <a:latin typeface="Times"/>
                <a:ea typeface="MS PGothic" pitchFamily="34" charset="-128"/>
              </a:defRPr>
            </a:lvl3pPr>
            <a:lvl4pPr marL="1600200" indent="-228600">
              <a:defRPr>
                <a:solidFill>
                  <a:schemeClr val="bg1"/>
                </a:solidFill>
                <a:latin typeface="Times"/>
                <a:ea typeface="MS PGothic" pitchFamily="34" charset="-128"/>
              </a:defRPr>
            </a:lvl4pPr>
            <a:lvl5pPr marL="2057400" indent="-228600">
              <a:defRPr>
                <a:solidFill>
                  <a:schemeClr val="bg1"/>
                </a:solidFill>
                <a:latin typeface="Times"/>
                <a:ea typeface="MS PGothic" pitchFamily="34" charset="-128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Times"/>
                <a:ea typeface="MS PGothic" pitchFamily="34" charset="-128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Times"/>
                <a:ea typeface="MS PGothic" pitchFamily="34" charset="-128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Times"/>
                <a:ea typeface="MS PGothic" pitchFamily="34" charset="-128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Times"/>
                <a:ea typeface="MS PGothic" pitchFamily="34" charset="-128"/>
              </a:defRPr>
            </a:lvl9pPr>
          </a:lstStyle>
          <a:p>
            <a:pPr defTabSz="851415">
              <a:spcBef>
                <a:spcPct val="50000"/>
              </a:spcBef>
            </a:pPr>
            <a:r>
              <a:rPr lang="nb-NO" sz="1283" dirty="0" smtClean="0">
                <a:solidFill>
                  <a:prstClr val="black"/>
                </a:solidFill>
                <a:latin typeface="Arial" pitchFamily="34" charset="0"/>
              </a:rPr>
              <a:t>Helseregistre og andre</a:t>
            </a:r>
            <a:endParaRPr lang="nb-NO" sz="1283" dirty="0">
              <a:solidFill>
                <a:prstClr val="black"/>
              </a:solidFill>
              <a:latin typeface="Arial" pitchFamily="34" charset="0"/>
            </a:endParaRPr>
          </a:p>
        </p:txBody>
      </p:sp>
      <p:sp>
        <p:nvSpPr>
          <p:cNvPr id="23" name="Text Box 19"/>
          <p:cNvSpPr txBox="1">
            <a:spLocks noChangeArrowheads="1"/>
          </p:cNvSpPr>
          <p:nvPr/>
        </p:nvSpPr>
        <p:spPr bwMode="auto">
          <a:xfrm>
            <a:off x="6588224" y="4897491"/>
            <a:ext cx="2083992" cy="2833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85128" tIns="42565" rIns="85128" bIns="42565">
            <a:spAutoFit/>
          </a:bodyPr>
          <a:lstStyle>
            <a:lvl1pPr>
              <a:defRPr>
                <a:solidFill>
                  <a:schemeClr val="bg1"/>
                </a:solidFill>
                <a:latin typeface="Times"/>
                <a:ea typeface="MS PGothic" pitchFamily="34" charset="-128"/>
              </a:defRPr>
            </a:lvl1pPr>
            <a:lvl2pPr marL="742950" indent="-285750">
              <a:defRPr>
                <a:solidFill>
                  <a:schemeClr val="bg1"/>
                </a:solidFill>
                <a:latin typeface="Times"/>
                <a:ea typeface="MS PGothic" pitchFamily="34" charset="-128"/>
              </a:defRPr>
            </a:lvl2pPr>
            <a:lvl3pPr marL="1143000" indent="-228600">
              <a:defRPr>
                <a:solidFill>
                  <a:schemeClr val="bg1"/>
                </a:solidFill>
                <a:latin typeface="Times"/>
                <a:ea typeface="MS PGothic" pitchFamily="34" charset="-128"/>
              </a:defRPr>
            </a:lvl3pPr>
            <a:lvl4pPr marL="1600200" indent="-228600">
              <a:defRPr>
                <a:solidFill>
                  <a:schemeClr val="bg1"/>
                </a:solidFill>
                <a:latin typeface="Times"/>
                <a:ea typeface="MS PGothic" pitchFamily="34" charset="-128"/>
              </a:defRPr>
            </a:lvl4pPr>
            <a:lvl5pPr marL="2057400" indent="-228600">
              <a:defRPr>
                <a:solidFill>
                  <a:schemeClr val="bg1"/>
                </a:solidFill>
                <a:latin typeface="Times"/>
                <a:ea typeface="MS PGothic" pitchFamily="34" charset="-128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Times"/>
                <a:ea typeface="MS PGothic" pitchFamily="34" charset="-128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Times"/>
                <a:ea typeface="MS PGothic" pitchFamily="34" charset="-128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Times"/>
                <a:ea typeface="MS PGothic" pitchFamily="34" charset="-128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Times"/>
                <a:ea typeface="MS PGothic" pitchFamily="34" charset="-128"/>
              </a:defRPr>
            </a:lvl9pPr>
          </a:lstStyle>
          <a:p>
            <a:pPr defTabSz="851415">
              <a:spcBef>
                <a:spcPct val="50000"/>
              </a:spcBef>
            </a:pPr>
            <a:r>
              <a:rPr lang="nb-NO" sz="1283" dirty="0" smtClean="0">
                <a:solidFill>
                  <a:prstClr val="black"/>
                </a:solidFill>
                <a:latin typeface="Arial" pitchFamily="34" charset="0"/>
              </a:rPr>
              <a:t>Plattform </a:t>
            </a:r>
            <a:r>
              <a:rPr lang="nb-NO" sz="1283" dirty="0" err="1" smtClean="0">
                <a:solidFill>
                  <a:prstClr val="black"/>
                </a:solidFill>
                <a:latin typeface="Arial" pitchFamily="34" charset="0"/>
              </a:rPr>
              <a:t>Helsenorge</a:t>
            </a:r>
            <a:endParaRPr lang="nb-NO" sz="1283" dirty="0">
              <a:solidFill>
                <a:prstClr val="black"/>
              </a:solidFill>
              <a:latin typeface="Arial" pitchFamily="34" charset="0"/>
            </a:endParaRPr>
          </a:p>
        </p:txBody>
      </p:sp>
      <p:sp>
        <p:nvSpPr>
          <p:cNvPr id="25" name="Text Box 21"/>
          <p:cNvSpPr txBox="1">
            <a:spLocks noChangeArrowheads="1"/>
          </p:cNvSpPr>
          <p:nvPr/>
        </p:nvSpPr>
        <p:spPr bwMode="auto">
          <a:xfrm>
            <a:off x="940362" y="332852"/>
            <a:ext cx="880583" cy="2833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5128" tIns="42565" rIns="85128" bIns="42565">
            <a:spAutoFit/>
          </a:bodyPr>
          <a:lstStyle>
            <a:lvl1pPr>
              <a:defRPr>
                <a:solidFill>
                  <a:schemeClr val="bg1"/>
                </a:solidFill>
                <a:latin typeface="Times"/>
                <a:ea typeface="MS PGothic" pitchFamily="34" charset="-128"/>
              </a:defRPr>
            </a:lvl1pPr>
            <a:lvl2pPr marL="742950" indent="-285750">
              <a:defRPr>
                <a:solidFill>
                  <a:schemeClr val="bg1"/>
                </a:solidFill>
                <a:latin typeface="Times"/>
                <a:ea typeface="MS PGothic" pitchFamily="34" charset="-128"/>
              </a:defRPr>
            </a:lvl2pPr>
            <a:lvl3pPr marL="1143000" indent="-228600">
              <a:defRPr>
                <a:solidFill>
                  <a:schemeClr val="bg1"/>
                </a:solidFill>
                <a:latin typeface="Times"/>
                <a:ea typeface="MS PGothic" pitchFamily="34" charset="-128"/>
              </a:defRPr>
            </a:lvl3pPr>
            <a:lvl4pPr marL="1600200" indent="-228600">
              <a:defRPr>
                <a:solidFill>
                  <a:schemeClr val="bg1"/>
                </a:solidFill>
                <a:latin typeface="Times"/>
                <a:ea typeface="MS PGothic" pitchFamily="34" charset="-128"/>
              </a:defRPr>
            </a:lvl4pPr>
            <a:lvl5pPr marL="2057400" indent="-228600">
              <a:defRPr>
                <a:solidFill>
                  <a:schemeClr val="bg1"/>
                </a:solidFill>
                <a:latin typeface="Times"/>
                <a:ea typeface="MS PGothic" pitchFamily="34" charset="-128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Times"/>
                <a:ea typeface="MS PGothic" pitchFamily="34" charset="-128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Times"/>
                <a:ea typeface="MS PGothic" pitchFamily="34" charset="-128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Times"/>
                <a:ea typeface="MS PGothic" pitchFamily="34" charset="-128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Times"/>
                <a:ea typeface="MS PGothic" pitchFamily="34" charset="-128"/>
              </a:defRPr>
            </a:lvl9pPr>
          </a:lstStyle>
          <a:p>
            <a:pPr defTabSz="851415">
              <a:spcBef>
                <a:spcPct val="50000"/>
              </a:spcBef>
            </a:pPr>
            <a:r>
              <a:rPr lang="nb-NO" sz="1283" dirty="0" smtClean="0">
                <a:solidFill>
                  <a:prstClr val="black"/>
                </a:solidFill>
                <a:latin typeface="Arial" pitchFamily="34" charset="0"/>
              </a:rPr>
              <a:t>2016</a:t>
            </a:r>
            <a:endParaRPr lang="nb-NO" sz="1283" dirty="0">
              <a:solidFill>
                <a:prstClr val="black"/>
              </a:solidFill>
              <a:latin typeface="Arial" pitchFamily="34" charset="0"/>
            </a:endParaRPr>
          </a:p>
        </p:txBody>
      </p:sp>
      <p:sp>
        <p:nvSpPr>
          <p:cNvPr id="26" name="Text Box 22"/>
          <p:cNvSpPr txBox="1">
            <a:spLocks noChangeArrowheads="1"/>
          </p:cNvSpPr>
          <p:nvPr/>
        </p:nvSpPr>
        <p:spPr bwMode="auto">
          <a:xfrm>
            <a:off x="2407654" y="335207"/>
            <a:ext cx="1173032" cy="2833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5128" tIns="42565" rIns="85128" bIns="42565">
            <a:spAutoFit/>
          </a:bodyPr>
          <a:lstStyle>
            <a:lvl1pPr>
              <a:defRPr>
                <a:solidFill>
                  <a:schemeClr val="bg1"/>
                </a:solidFill>
                <a:latin typeface="Times"/>
                <a:ea typeface="MS PGothic" pitchFamily="34" charset="-128"/>
              </a:defRPr>
            </a:lvl1pPr>
            <a:lvl2pPr marL="742950" indent="-285750">
              <a:defRPr>
                <a:solidFill>
                  <a:schemeClr val="bg1"/>
                </a:solidFill>
                <a:latin typeface="Times"/>
                <a:ea typeface="MS PGothic" pitchFamily="34" charset="-128"/>
              </a:defRPr>
            </a:lvl2pPr>
            <a:lvl3pPr marL="1143000" indent="-228600">
              <a:defRPr>
                <a:solidFill>
                  <a:schemeClr val="bg1"/>
                </a:solidFill>
                <a:latin typeface="Times"/>
                <a:ea typeface="MS PGothic" pitchFamily="34" charset="-128"/>
              </a:defRPr>
            </a:lvl3pPr>
            <a:lvl4pPr marL="1600200" indent="-228600">
              <a:defRPr>
                <a:solidFill>
                  <a:schemeClr val="bg1"/>
                </a:solidFill>
                <a:latin typeface="Times"/>
                <a:ea typeface="MS PGothic" pitchFamily="34" charset="-128"/>
              </a:defRPr>
            </a:lvl4pPr>
            <a:lvl5pPr marL="2057400" indent="-228600">
              <a:defRPr>
                <a:solidFill>
                  <a:schemeClr val="bg1"/>
                </a:solidFill>
                <a:latin typeface="Times"/>
                <a:ea typeface="MS PGothic" pitchFamily="34" charset="-128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Times"/>
                <a:ea typeface="MS PGothic" pitchFamily="34" charset="-128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Times"/>
                <a:ea typeface="MS PGothic" pitchFamily="34" charset="-128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Times"/>
                <a:ea typeface="MS PGothic" pitchFamily="34" charset="-128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Times"/>
                <a:ea typeface="MS PGothic" pitchFamily="34" charset="-128"/>
              </a:defRPr>
            </a:lvl9pPr>
          </a:lstStyle>
          <a:p>
            <a:pPr defTabSz="851415">
              <a:spcBef>
                <a:spcPct val="50000"/>
              </a:spcBef>
            </a:pPr>
            <a:r>
              <a:rPr lang="nb-NO" sz="1283" dirty="0" smtClean="0">
                <a:solidFill>
                  <a:prstClr val="black"/>
                </a:solidFill>
                <a:latin typeface="Arial" pitchFamily="34" charset="0"/>
              </a:rPr>
              <a:t>2017</a:t>
            </a:r>
            <a:endParaRPr lang="nb-NO" sz="1283" dirty="0">
              <a:solidFill>
                <a:prstClr val="black"/>
              </a:solidFill>
              <a:latin typeface="Arial" pitchFamily="34" charset="0"/>
            </a:endParaRPr>
          </a:p>
        </p:txBody>
      </p:sp>
      <p:sp>
        <p:nvSpPr>
          <p:cNvPr id="27" name="Text Box 23"/>
          <p:cNvSpPr txBox="1">
            <a:spLocks noChangeArrowheads="1"/>
          </p:cNvSpPr>
          <p:nvPr/>
        </p:nvSpPr>
        <p:spPr bwMode="auto">
          <a:xfrm>
            <a:off x="4405059" y="320771"/>
            <a:ext cx="1173032" cy="2833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5128" tIns="42565" rIns="85128" bIns="42565">
            <a:spAutoFit/>
          </a:bodyPr>
          <a:lstStyle>
            <a:lvl1pPr>
              <a:defRPr>
                <a:solidFill>
                  <a:schemeClr val="bg1"/>
                </a:solidFill>
                <a:latin typeface="Times"/>
                <a:ea typeface="MS PGothic" pitchFamily="34" charset="-128"/>
              </a:defRPr>
            </a:lvl1pPr>
            <a:lvl2pPr marL="742950" indent="-285750">
              <a:defRPr>
                <a:solidFill>
                  <a:schemeClr val="bg1"/>
                </a:solidFill>
                <a:latin typeface="Times"/>
                <a:ea typeface="MS PGothic" pitchFamily="34" charset="-128"/>
              </a:defRPr>
            </a:lvl2pPr>
            <a:lvl3pPr marL="1143000" indent="-228600">
              <a:defRPr>
                <a:solidFill>
                  <a:schemeClr val="bg1"/>
                </a:solidFill>
                <a:latin typeface="Times"/>
                <a:ea typeface="MS PGothic" pitchFamily="34" charset="-128"/>
              </a:defRPr>
            </a:lvl3pPr>
            <a:lvl4pPr marL="1600200" indent="-228600">
              <a:defRPr>
                <a:solidFill>
                  <a:schemeClr val="bg1"/>
                </a:solidFill>
                <a:latin typeface="Times"/>
                <a:ea typeface="MS PGothic" pitchFamily="34" charset="-128"/>
              </a:defRPr>
            </a:lvl4pPr>
            <a:lvl5pPr marL="2057400" indent="-228600">
              <a:defRPr>
                <a:solidFill>
                  <a:schemeClr val="bg1"/>
                </a:solidFill>
                <a:latin typeface="Times"/>
                <a:ea typeface="MS PGothic" pitchFamily="34" charset="-128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Times"/>
                <a:ea typeface="MS PGothic" pitchFamily="34" charset="-128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Times"/>
                <a:ea typeface="MS PGothic" pitchFamily="34" charset="-128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Times"/>
                <a:ea typeface="MS PGothic" pitchFamily="34" charset="-128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Times"/>
                <a:ea typeface="MS PGothic" pitchFamily="34" charset="-128"/>
              </a:defRPr>
            </a:lvl9pPr>
          </a:lstStyle>
          <a:p>
            <a:pPr defTabSz="851415">
              <a:spcBef>
                <a:spcPct val="50000"/>
              </a:spcBef>
            </a:pPr>
            <a:r>
              <a:rPr lang="nb-NO" sz="1283" dirty="0" smtClean="0">
                <a:solidFill>
                  <a:prstClr val="black"/>
                </a:solidFill>
                <a:latin typeface="Arial" pitchFamily="34" charset="0"/>
              </a:rPr>
              <a:t>2018</a:t>
            </a:r>
            <a:endParaRPr lang="nb-NO" sz="1283" dirty="0">
              <a:solidFill>
                <a:prstClr val="black"/>
              </a:solidFill>
              <a:latin typeface="Arial" pitchFamily="34" charset="0"/>
            </a:endParaRPr>
          </a:p>
        </p:txBody>
      </p:sp>
      <p:sp>
        <p:nvSpPr>
          <p:cNvPr id="42" name="Text Box 38"/>
          <p:cNvSpPr txBox="1">
            <a:spLocks noChangeArrowheads="1"/>
          </p:cNvSpPr>
          <p:nvPr/>
        </p:nvSpPr>
        <p:spPr bwMode="auto">
          <a:xfrm>
            <a:off x="5694343" y="675064"/>
            <a:ext cx="1467098" cy="6122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5128" tIns="42565" rIns="85128" bIns="42565">
            <a:spAutoFit/>
          </a:bodyPr>
          <a:lstStyle>
            <a:lvl1pPr>
              <a:defRPr>
                <a:solidFill>
                  <a:schemeClr val="bg1"/>
                </a:solidFill>
                <a:latin typeface="Times"/>
                <a:ea typeface="MS PGothic" pitchFamily="34" charset="-128"/>
              </a:defRPr>
            </a:lvl1pPr>
            <a:lvl2pPr marL="742950" indent="-285750">
              <a:defRPr>
                <a:solidFill>
                  <a:schemeClr val="bg1"/>
                </a:solidFill>
                <a:latin typeface="Times"/>
                <a:ea typeface="MS PGothic" pitchFamily="34" charset="-128"/>
              </a:defRPr>
            </a:lvl2pPr>
            <a:lvl3pPr marL="1143000" indent="-228600">
              <a:defRPr>
                <a:solidFill>
                  <a:schemeClr val="bg1"/>
                </a:solidFill>
                <a:latin typeface="Times"/>
                <a:ea typeface="MS PGothic" pitchFamily="34" charset="-128"/>
              </a:defRPr>
            </a:lvl3pPr>
            <a:lvl4pPr marL="1600200" indent="-228600">
              <a:defRPr>
                <a:solidFill>
                  <a:schemeClr val="bg1"/>
                </a:solidFill>
                <a:latin typeface="Times"/>
                <a:ea typeface="MS PGothic" pitchFamily="34" charset="-128"/>
              </a:defRPr>
            </a:lvl4pPr>
            <a:lvl5pPr marL="2057400" indent="-228600">
              <a:defRPr>
                <a:solidFill>
                  <a:schemeClr val="bg1"/>
                </a:solidFill>
                <a:latin typeface="Times"/>
                <a:ea typeface="MS PGothic" pitchFamily="34" charset="-128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Times"/>
                <a:ea typeface="MS PGothic" pitchFamily="34" charset="-128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Times"/>
                <a:ea typeface="MS PGothic" pitchFamily="34" charset="-128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Times"/>
                <a:ea typeface="MS PGothic" pitchFamily="34" charset="-128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Times"/>
                <a:ea typeface="MS PGothic" pitchFamily="34" charset="-128"/>
              </a:defRPr>
            </a:lvl9pPr>
          </a:lstStyle>
          <a:p>
            <a:pPr defTabSz="851415">
              <a:spcBef>
                <a:spcPct val="50000"/>
              </a:spcBef>
            </a:pPr>
            <a:endParaRPr lang="nb-NO" sz="855">
              <a:solidFill>
                <a:prstClr val="black"/>
              </a:solidFill>
            </a:endParaRPr>
          </a:p>
          <a:p>
            <a:pPr defTabSz="851415">
              <a:spcBef>
                <a:spcPct val="50000"/>
              </a:spcBef>
            </a:pPr>
            <a:endParaRPr lang="nb-NO" sz="855">
              <a:solidFill>
                <a:prstClr val="black"/>
              </a:solidFill>
            </a:endParaRPr>
          </a:p>
          <a:p>
            <a:pPr defTabSz="851415">
              <a:spcBef>
                <a:spcPct val="50000"/>
              </a:spcBef>
            </a:pPr>
            <a:endParaRPr lang="nb-NO" sz="855">
              <a:solidFill>
                <a:prstClr val="black"/>
              </a:solidFill>
            </a:endParaRPr>
          </a:p>
        </p:txBody>
      </p:sp>
      <p:sp>
        <p:nvSpPr>
          <p:cNvPr id="45" name="Freeform 7"/>
          <p:cNvSpPr>
            <a:spLocks/>
          </p:cNvSpPr>
          <p:nvPr/>
        </p:nvSpPr>
        <p:spPr bwMode="auto">
          <a:xfrm>
            <a:off x="5694361" y="172557"/>
            <a:ext cx="3160401" cy="1344736"/>
          </a:xfrm>
          <a:custGeom>
            <a:avLst/>
            <a:gdLst>
              <a:gd name="T0" fmla="*/ 0 w 3175"/>
              <a:gd name="T1" fmla="*/ 0 h 1633"/>
              <a:gd name="T2" fmla="*/ 1008063 w 3175"/>
              <a:gd name="T3" fmla="*/ 2160586 h 1633"/>
              <a:gd name="T4" fmla="*/ 5040312 w 3175"/>
              <a:gd name="T5" fmla="*/ 2592386 h 1633"/>
              <a:gd name="T6" fmla="*/ 0 60000 65536"/>
              <a:gd name="T7" fmla="*/ 0 60000 65536"/>
              <a:gd name="T8" fmla="*/ 0 60000 65536"/>
              <a:gd name="T9" fmla="*/ 0 w 3175"/>
              <a:gd name="T10" fmla="*/ 0 h 1633"/>
              <a:gd name="T11" fmla="*/ 3175 w 3175"/>
              <a:gd name="T12" fmla="*/ 1633 h 1633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3175" h="1633">
                <a:moveTo>
                  <a:pt x="0" y="0"/>
                </a:moveTo>
                <a:cubicBezTo>
                  <a:pt x="53" y="544"/>
                  <a:pt x="106" y="1089"/>
                  <a:pt x="635" y="1361"/>
                </a:cubicBezTo>
                <a:cubicBezTo>
                  <a:pt x="1164" y="1633"/>
                  <a:pt x="2169" y="1633"/>
                  <a:pt x="3175" y="1633"/>
                </a:cubicBezTo>
              </a:path>
            </a:pathLst>
          </a:cu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85128" tIns="42565" rIns="85128" bIns="42565"/>
          <a:lstStyle/>
          <a:p>
            <a:pPr defTabSz="851415"/>
            <a:endParaRPr lang="nb-NO" sz="1539">
              <a:solidFill>
                <a:prstClr val="black"/>
              </a:solidFill>
              <a:ea typeface="MS PGothic" panose="020B0600070205080204" pitchFamily="34" charset="-128"/>
            </a:endParaRPr>
          </a:p>
        </p:txBody>
      </p:sp>
      <p:sp>
        <p:nvSpPr>
          <p:cNvPr id="34" name="Line 15"/>
          <p:cNvSpPr>
            <a:spLocks noChangeShapeType="1"/>
          </p:cNvSpPr>
          <p:nvPr/>
        </p:nvSpPr>
        <p:spPr bwMode="auto">
          <a:xfrm flipV="1">
            <a:off x="568744" y="884382"/>
            <a:ext cx="6599366" cy="931284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85128" tIns="42565" rIns="85128" bIns="42565"/>
          <a:lstStyle/>
          <a:p>
            <a:pPr defTabSz="851415"/>
            <a:endParaRPr lang="nb-NO" sz="1454">
              <a:solidFill>
                <a:prstClr val="black"/>
              </a:solidFill>
              <a:ea typeface="MS PGothic" panose="020B0600070205080204" pitchFamily="34" charset="-128"/>
            </a:endParaRPr>
          </a:p>
        </p:txBody>
      </p:sp>
      <p:sp>
        <p:nvSpPr>
          <p:cNvPr id="35" name="Line 15"/>
          <p:cNvSpPr>
            <a:spLocks noChangeShapeType="1"/>
          </p:cNvSpPr>
          <p:nvPr/>
        </p:nvSpPr>
        <p:spPr bwMode="auto">
          <a:xfrm flipV="1">
            <a:off x="6385770" y="955036"/>
            <a:ext cx="952270" cy="3887936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85128" tIns="42565" rIns="85128" bIns="42565"/>
          <a:lstStyle/>
          <a:p>
            <a:pPr defTabSz="851415"/>
            <a:endParaRPr lang="nb-NO" sz="1454">
              <a:solidFill>
                <a:prstClr val="black"/>
              </a:solidFill>
              <a:ea typeface="MS PGothic" panose="020B0600070205080204" pitchFamily="34" charset="-128"/>
            </a:endParaRPr>
          </a:p>
        </p:txBody>
      </p:sp>
      <p:sp>
        <p:nvSpPr>
          <p:cNvPr id="99" name="Text Box 19"/>
          <p:cNvSpPr txBox="1">
            <a:spLocks noChangeArrowheads="1"/>
          </p:cNvSpPr>
          <p:nvPr/>
        </p:nvSpPr>
        <p:spPr bwMode="auto">
          <a:xfrm>
            <a:off x="2271984" y="4897491"/>
            <a:ext cx="3306106" cy="2833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85128" tIns="42565" rIns="85128" bIns="42565">
            <a:spAutoFit/>
          </a:bodyPr>
          <a:lstStyle>
            <a:lvl1pPr>
              <a:defRPr>
                <a:solidFill>
                  <a:schemeClr val="bg1"/>
                </a:solidFill>
                <a:latin typeface="Times"/>
                <a:ea typeface="MS PGothic" pitchFamily="34" charset="-128"/>
              </a:defRPr>
            </a:lvl1pPr>
            <a:lvl2pPr marL="742950" indent="-285750">
              <a:defRPr>
                <a:solidFill>
                  <a:schemeClr val="bg1"/>
                </a:solidFill>
                <a:latin typeface="Times"/>
                <a:ea typeface="MS PGothic" pitchFamily="34" charset="-128"/>
              </a:defRPr>
            </a:lvl2pPr>
            <a:lvl3pPr marL="1143000" indent="-228600">
              <a:defRPr>
                <a:solidFill>
                  <a:schemeClr val="bg1"/>
                </a:solidFill>
                <a:latin typeface="Times"/>
                <a:ea typeface="MS PGothic" pitchFamily="34" charset="-128"/>
              </a:defRPr>
            </a:lvl3pPr>
            <a:lvl4pPr marL="1600200" indent="-228600">
              <a:defRPr>
                <a:solidFill>
                  <a:schemeClr val="bg1"/>
                </a:solidFill>
                <a:latin typeface="Times"/>
                <a:ea typeface="MS PGothic" pitchFamily="34" charset="-128"/>
              </a:defRPr>
            </a:lvl4pPr>
            <a:lvl5pPr marL="2057400" indent="-228600">
              <a:defRPr>
                <a:solidFill>
                  <a:schemeClr val="bg1"/>
                </a:solidFill>
                <a:latin typeface="Times"/>
                <a:ea typeface="MS PGothic" pitchFamily="34" charset="-128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Times"/>
                <a:ea typeface="MS PGothic" pitchFamily="34" charset="-128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Times"/>
                <a:ea typeface="MS PGothic" pitchFamily="34" charset="-128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Times"/>
                <a:ea typeface="MS PGothic" pitchFamily="34" charset="-128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Times"/>
                <a:ea typeface="MS PGothic" pitchFamily="34" charset="-128"/>
              </a:defRPr>
            </a:lvl9pPr>
          </a:lstStyle>
          <a:p>
            <a:pPr defTabSz="851415">
              <a:spcBef>
                <a:spcPct val="50000"/>
              </a:spcBef>
            </a:pPr>
            <a:r>
              <a:rPr lang="nb-NO" sz="1283" dirty="0" smtClean="0">
                <a:solidFill>
                  <a:prstClr val="black"/>
                </a:solidFill>
                <a:latin typeface="Arial" pitchFamily="34" charset="0"/>
              </a:rPr>
              <a:t>Primærhelsetjenesten</a:t>
            </a:r>
            <a:endParaRPr lang="nb-NO" sz="1283" dirty="0">
              <a:solidFill>
                <a:prstClr val="black"/>
              </a:solidFill>
              <a:latin typeface="Arial" pitchFamily="34" charset="0"/>
            </a:endParaRPr>
          </a:p>
        </p:txBody>
      </p:sp>
      <p:sp>
        <p:nvSpPr>
          <p:cNvPr id="65" name="TekstSylinder 64"/>
          <p:cNvSpPr txBox="1"/>
          <p:nvPr/>
        </p:nvSpPr>
        <p:spPr>
          <a:xfrm>
            <a:off x="975953" y="2072759"/>
            <a:ext cx="1502757" cy="276999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 w="57150">
            <a:noFill/>
          </a:ln>
        </p:spPr>
        <p:txBody>
          <a:bodyPr wrap="square" rtlCol="0">
            <a:spAutoFit/>
          </a:bodyPr>
          <a:lstStyle>
            <a:defPPr>
              <a:defRPr lang="nb-NO"/>
            </a:defPPr>
            <a:lvl1pPr>
              <a:defRPr sz="1200" b="1">
                <a:solidFill>
                  <a:srgbClr val="303030"/>
                </a:solidFill>
                <a:cs typeface="Arial"/>
              </a:defRPr>
            </a:lvl1pPr>
          </a:lstStyle>
          <a:p>
            <a:r>
              <a:rPr lang="nb-NO" dirty="0">
                <a:ea typeface="MS PGothic" panose="020B0600070205080204" pitchFamily="34" charset="-128"/>
              </a:rPr>
              <a:t>[K]-</a:t>
            </a:r>
            <a:r>
              <a:rPr lang="nb-NO" b="0" dirty="0">
                <a:ea typeface="MS PGothic" panose="020B0600070205080204" pitchFamily="34" charset="-128"/>
              </a:rPr>
              <a:t>Digitale skjema </a:t>
            </a:r>
          </a:p>
        </p:txBody>
      </p:sp>
      <p:sp>
        <p:nvSpPr>
          <p:cNvPr id="66" name="TekstSylinder 65"/>
          <p:cNvSpPr txBox="1"/>
          <p:nvPr/>
        </p:nvSpPr>
        <p:spPr>
          <a:xfrm>
            <a:off x="395541" y="2328884"/>
            <a:ext cx="2005081" cy="276999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txBody>
          <a:bodyPr wrap="square" rtlCol="0">
            <a:spAutoFit/>
          </a:bodyPr>
          <a:lstStyle/>
          <a:p>
            <a:r>
              <a:rPr lang="nb-NO" sz="1200" b="1" dirty="0">
                <a:solidFill>
                  <a:srgbClr val="303030"/>
                </a:solidFill>
                <a:ea typeface="MS PGothic" panose="020B0600070205080204" pitchFamily="34" charset="-128"/>
                <a:cs typeface="Arial"/>
              </a:rPr>
              <a:t>[A]-</a:t>
            </a:r>
            <a:r>
              <a:rPr lang="nb-NO" sz="1200" dirty="0">
                <a:solidFill>
                  <a:srgbClr val="303030"/>
                </a:solidFill>
                <a:ea typeface="MS PGothic" panose="020B0600070205080204" pitchFamily="34" charset="-128"/>
                <a:cs typeface="Arial"/>
              </a:rPr>
              <a:t>Endringer varselprofil</a:t>
            </a:r>
          </a:p>
        </p:txBody>
      </p:sp>
      <p:sp>
        <p:nvSpPr>
          <p:cNvPr id="67" name="TekstSylinder 66"/>
          <p:cNvSpPr txBox="1"/>
          <p:nvPr/>
        </p:nvSpPr>
        <p:spPr>
          <a:xfrm>
            <a:off x="611562" y="4626385"/>
            <a:ext cx="1660424" cy="276999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txBody>
          <a:bodyPr wrap="square" rtlCol="0">
            <a:spAutoFit/>
          </a:bodyPr>
          <a:lstStyle/>
          <a:p>
            <a:r>
              <a:rPr lang="nb-NO" sz="1200" b="1" dirty="0">
                <a:solidFill>
                  <a:srgbClr val="303030"/>
                </a:solidFill>
                <a:ea typeface="MS PGothic" panose="020B0600070205080204" pitchFamily="34" charset="-128"/>
                <a:cs typeface="Arial"/>
              </a:rPr>
              <a:t>[E]-</a:t>
            </a:r>
            <a:r>
              <a:rPr lang="nb-NO" sz="1200" dirty="0">
                <a:solidFill>
                  <a:srgbClr val="303030"/>
                </a:solidFill>
                <a:ea typeface="MS PGothic" panose="020B0600070205080204" pitchFamily="34" charset="-128"/>
                <a:cs typeface="Arial"/>
              </a:rPr>
              <a:t>Felles nettløsning</a:t>
            </a:r>
          </a:p>
        </p:txBody>
      </p:sp>
      <p:sp>
        <p:nvSpPr>
          <p:cNvPr id="71" name="TekstSylinder 70"/>
          <p:cNvSpPr txBox="1"/>
          <p:nvPr/>
        </p:nvSpPr>
        <p:spPr>
          <a:xfrm>
            <a:off x="899592" y="3200750"/>
            <a:ext cx="1508062" cy="276999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nb-NO" sz="1200" b="1" dirty="0">
                <a:solidFill>
                  <a:srgbClr val="303030"/>
                </a:solidFill>
                <a:ea typeface="MS PGothic" panose="020B0600070205080204" pitchFamily="34" charset="-128"/>
                <a:cs typeface="Arial"/>
              </a:rPr>
              <a:t>[B]-</a:t>
            </a:r>
            <a:r>
              <a:rPr lang="nb-NO" sz="1200" dirty="0" err="1">
                <a:solidFill>
                  <a:srgbClr val="303030"/>
                </a:solidFill>
                <a:ea typeface="MS PGothic" panose="020B0600070205080204" pitchFamily="34" charset="-128"/>
                <a:cs typeface="Arial"/>
              </a:rPr>
              <a:t>eKonsultasjon</a:t>
            </a:r>
            <a:endParaRPr lang="nb-NO" sz="1200" dirty="0">
              <a:solidFill>
                <a:srgbClr val="303030"/>
              </a:solidFill>
              <a:ea typeface="MS PGothic" panose="020B0600070205080204" pitchFamily="34" charset="-128"/>
              <a:cs typeface="Arial"/>
            </a:endParaRPr>
          </a:p>
        </p:txBody>
      </p:sp>
      <p:sp>
        <p:nvSpPr>
          <p:cNvPr id="72" name="TekstSylinder 71"/>
          <p:cNvSpPr txBox="1"/>
          <p:nvPr/>
        </p:nvSpPr>
        <p:spPr>
          <a:xfrm>
            <a:off x="1619676" y="4380607"/>
            <a:ext cx="1451503" cy="276999"/>
          </a:xfrm>
          <a:prstGeom prst="rect">
            <a:avLst/>
          </a:prstGeom>
          <a:gradFill flip="none" rotWithShape="1">
            <a:gsLst>
              <a:gs pos="53000">
                <a:schemeClr val="accent2">
                  <a:lumMod val="40000"/>
                  <a:lumOff val="60000"/>
                </a:schemeClr>
              </a:gs>
              <a:gs pos="100000">
                <a:schemeClr val="accent2">
                  <a:lumMod val="40000"/>
                  <a:lumOff val="60000"/>
                </a:schemeClr>
              </a:gs>
              <a:gs pos="100000">
                <a:schemeClr val="accent2">
                  <a:lumMod val="40000"/>
                  <a:lumOff val="60000"/>
                </a:schemeClr>
              </a:gs>
              <a:gs pos="0">
                <a:srgbClr val="BCE292"/>
              </a:gs>
              <a:gs pos="100000">
                <a:schemeClr val="accent2">
                  <a:lumMod val="40000"/>
                  <a:lumOff val="60000"/>
                </a:schemeClr>
              </a:gs>
              <a:gs pos="100000">
                <a:schemeClr val="accent1">
                  <a:tint val="23500"/>
                  <a:satMod val="160000"/>
                </a:schemeClr>
              </a:gs>
            </a:gsLst>
            <a:path path="circle">
              <a:fillToRect l="100000" t="100000"/>
            </a:path>
            <a:tileRect r="-100000" b="-100000"/>
          </a:gradFill>
        </p:spPr>
        <p:txBody>
          <a:bodyPr wrap="square" rtlCol="0">
            <a:spAutoFit/>
          </a:bodyPr>
          <a:lstStyle/>
          <a:p>
            <a:r>
              <a:rPr lang="nb-NO" sz="1200" b="1" dirty="0">
                <a:solidFill>
                  <a:srgbClr val="303030"/>
                </a:solidFill>
                <a:ea typeface="MS PGothic" panose="020B0600070205080204" pitchFamily="34" charset="-128"/>
                <a:cs typeface="Arial"/>
              </a:rPr>
              <a:t>[H]-</a:t>
            </a:r>
            <a:r>
              <a:rPr lang="nb-NO" sz="1200" dirty="0">
                <a:solidFill>
                  <a:srgbClr val="303030"/>
                </a:solidFill>
                <a:ea typeface="MS PGothic" panose="020B0600070205080204" pitchFamily="34" charset="-128"/>
                <a:cs typeface="Arial"/>
              </a:rPr>
              <a:t>Pasientreiser</a:t>
            </a:r>
          </a:p>
        </p:txBody>
      </p:sp>
      <p:sp>
        <p:nvSpPr>
          <p:cNvPr id="73" name="TekstSylinder 72"/>
          <p:cNvSpPr txBox="1"/>
          <p:nvPr/>
        </p:nvSpPr>
        <p:spPr>
          <a:xfrm>
            <a:off x="6804249" y="4670954"/>
            <a:ext cx="2142172" cy="276999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</p:spPr>
        <p:txBody>
          <a:bodyPr wrap="square" rtlCol="0">
            <a:spAutoFit/>
          </a:bodyPr>
          <a:lstStyle/>
          <a:p>
            <a:r>
              <a:rPr lang="nb-NO" sz="1200" dirty="0">
                <a:solidFill>
                  <a:srgbClr val="303030"/>
                </a:solidFill>
                <a:ea typeface="MS PGothic" panose="020B0600070205080204" pitchFamily="34" charset="-128"/>
                <a:cs typeface="Arial"/>
              </a:rPr>
              <a:t>Hjelpetjenester i brukerflate</a:t>
            </a:r>
          </a:p>
        </p:txBody>
      </p:sp>
      <p:sp>
        <p:nvSpPr>
          <p:cNvPr id="74" name="TekstSylinder 73"/>
          <p:cNvSpPr txBox="1"/>
          <p:nvPr/>
        </p:nvSpPr>
        <p:spPr>
          <a:xfrm>
            <a:off x="683573" y="3014831"/>
            <a:ext cx="1724085" cy="276999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 w="57150">
            <a:noFill/>
          </a:ln>
        </p:spPr>
        <p:txBody>
          <a:bodyPr wrap="square" rtlCol="0">
            <a:spAutoFit/>
          </a:bodyPr>
          <a:lstStyle>
            <a:defPPr>
              <a:defRPr lang="nb-NO"/>
            </a:defPPr>
            <a:lvl1pPr>
              <a:defRPr sz="1200" b="1">
                <a:solidFill>
                  <a:srgbClr val="303030"/>
                </a:solidFill>
                <a:cs typeface="Arial"/>
              </a:defRPr>
            </a:lvl1pPr>
          </a:lstStyle>
          <a:p>
            <a:r>
              <a:rPr lang="nb-NO" dirty="0">
                <a:ea typeface="MS PGothic" panose="020B0600070205080204" pitchFamily="34" charset="-128"/>
              </a:rPr>
              <a:t>[A]-</a:t>
            </a:r>
            <a:r>
              <a:rPr lang="nb-NO" b="0" dirty="0">
                <a:ea typeface="MS PGothic" panose="020B0600070205080204" pitchFamily="34" charset="-128"/>
              </a:rPr>
              <a:t>Selvbooking timer</a:t>
            </a:r>
          </a:p>
        </p:txBody>
      </p:sp>
      <p:sp>
        <p:nvSpPr>
          <p:cNvPr id="75" name="TekstSylinder 74"/>
          <p:cNvSpPr txBox="1"/>
          <p:nvPr/>
        </p:nvSpPr>
        <p:spPr>
          <a:xfrm>
            <a:off x="650661" y="3424313"/>
            <a:ext cx="2409173" cy="276999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 w="57150">
            <a:noFill/>
          </a:ln>
        </p:spPr>
        <p:txBody>
          <a:bodyPr wrap="square" rtlCol="0">
            <a:spAutoFit/>
          </a:bodyPr>
          <a:lstStyle>
            <a:defPPr>
              <a:defRPr lang="nb-NO"/>
            </a:defPPr>
            <a:lvl1pPr>
              <a:defRPr sz="1200" b="1">
                <a:solidFill>
                  <a:srgbClr val="303030"/>
                </a:solidFill>
                <a:cs typeface="Arial"/>
              </a:defRPr>
            </a:lvl1pPr>
          </a:lstStyle>
          <a:p>
            <a:r>
              <a:rPr lang="nb-NO" dirty="0">
                <a:ea typeface="MS PGothic" panose="020B0600070205080204" pitchFamily="34" charset="-128"/>
              </a:rPr>
              <a:t>[B]-</a:t>
            </a:r>
            <a:r>
              <a:rPr lang="nb-NO" b="0" dirty="0">
                <a:ea typeface="MS PGothic" panose="020B0600070205080204" pitchFamily="34" charset="-128"/>
              </a:rPr>
              <a:t>Dialog forløpskoordinator </a:t>
            </a:r>
          </a:p>
        </p:txBody>
      </p:sp>
      <p:sp>
        <p:nvSpPr>
          <p:cNvPr id="93" name="TekstSylinder 92"/>
          <p:cNvSpPr txBox="1"/>
          <p:nvPr/>
        </p:nvSpPr>
        <p:spPr>
          <a:xfrm>
            <a:off x="2400618" y="1555083"/>
            <a:ext cx="1876898" cy="276999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txBody>
          <a:bodyPr wrap="square" rtlCol="0">
            <a:spAutoFit/>
          </a:bodyPr>
          <a:lstStyle/>
          <a:p>
            <a:r>
              <a:rPr lang="nb-NO" sz="1200" b="1" dirty="0">
                <a:solidFill>
                  <a:srgbClr val="303030"/>
                </a:solidFill>
                <a:ea typeface="MS PGothic" panose="020B0600070205080204" pitchFamily="34" charset="-128"/>
                <a:cs typeface="Arial"/>
              </a:rPr>
              <a:t>[B]-</a:t>
            </a:r>
            <a:r>
              <a:rPr lang="nb-NO" sz="1200" dirty="0">
                <a:solidFill>
                  <a:srgbClr val="303030"/>
                </a:solidFill>
                <a:ea typeface="MS PGothic" panose="020B0600070205080204" pitchFamily="34" charset="-128"/>
                <a:cs typeface="Arial"/>
              </a:rPr>
              <a:t>Symptomavklaring</a:t>
            </a:r>
          </a:p>
        </p:txBody>
      </p:sp>
      <p:sp>
        <p:nvSpPr>
          <p:cNvPr id="94" name="TekstSylinder 93"/>
          <p:cNvSpPr txBox="1"/>
          <p:nvPr/>
        </p:nvSpPr>
        <p:spPr>
          <a:xfrm>
            <a:off x="2217569" y="1817327"/>
            <a:ext cx="1994392" cy="276999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txBody>
          <a:bodyPr wrap="square" rtlCol="0">
            <a:spAutoFit/>
          </a:bodyPr>
          <a:lstStyle/>
          <a:p>
            <a:r>
              <a:rPr lang="nb-NO" sz="1200" b="1" dirty="0">
                <a:solidFill>
                  <a:srgbClr val="303030"/>
                </a:solidFill>
                <a:ea typeface="MS PGothic" panose="020B0600070205080204" pitchFamily="34" charset="-128"/>
                <a:cs typeface="Arial"/>
              </a:rPr>
              <a:t>[C]-</a:t>
            </a:r>
            <a:r>
              <a:rPr lang="nb-NO" sz="1200" dirty="0">
                <a:solidFill>
                  <a:srgbClr val="303030"/>
                </a:solidFill>
                <a:ea typeface="MS PGothic" panose="020B0600070205080204" pitchFamily="34" charset="-128"/>
                <a:cs typeface="Arial"/>
              </a:rPr>
              <a:t>Medisinske prøvesvar</a:t>
            </a:r>
          </a:p>
        </p:txBody>
      </p:sp>
      <p:sp>
        <p:nvSpPr>
          <p:cNvPr id="95" name="TekstSylinder 94"/>
          <p:cNvSpPr txBox="1"/>
          <p:nvPr/>
        </p:nvSpPr>
        <p:spPr>
          <a:xfrm>
            <a:off x="2523820" y="2080334"/>
            <a:ext cx="2408936" cy="276999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txBody>
          <a:bodyPr wrap="square" rtlCol="0">
            <a:spAutoFit/>
          </a:bodyPr>
          <a:lstStyle/>
          <a:p>
            <a:r>
              <a:rPr lang="nb-NO" sz="1200" b="1" dirty="0">
                <a:solidFill>
                  <a:srgbClr val="303030"/>
                </a:solidFill>
                <a:ea typeface="MS PGothic" panose="020B0600070205080204" pitchFamily="34" charset="-128"/>
                <a:cs typeface="Arial"/>
              </a:rPr>
              <a:t>[C]-</a:t>
            </a:r>
            <a:r>
              <a:rPr lang="nb-NO" sz="1200" dirty="0">
                <a:solidFill>
                  <a:srgbClr val="303030"/>
                </a:solidFill>
                <a:ea typeface="MS PGothic" panose="020B0600070205080204" pitchFamily="34" charset="-128"/>
                <a:cs typeface="Arial"/>
              </a:rPr>
              <a:t>Felles legemiddelvisning ?</a:t>
            </a:r>
          </a:p>
        </p:txBody>
      </p:sp>
      <p:sp>
        <p:nvSpPr>
          <p:cNvPr id="96" name="TekstSylinder 95"/>
          <p:cNvSpPr txBox="1"/>
          <p:nvPr/>
        </p:nvSpPr>
        <p:spPr>
          <a:xfrm>
            <a:off x="6784131" y="4001467"/>
            <a:ext cx="1820321" cy="276999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</p:spPr>
        <p:txBody>
          <a:bodyPr wrap="square" rtlCol="0">
            <a:spAutoFit/>
          </a:bodyPr>
          <a:lstStyle/>
          <a:p>
            <a:r>
              <a:rPr lang="nb-NO" sz="1200" b="1" dirty="0">
                <a:solidFill>
                  <a:srgbClr val="303030"/>
                </a:solidFill>
                <a:ea typeface="MS PGothic" panose="020B0600070205080204" pitchFamily="34" charset="-128"/>
                <a:cs typeface="Arial"/>
              </a:rPr>
              <a:t>[D]-</a:t>
            </a:r>
            <a:r>
              <a:rPr lang="nb-NO" sz="1200" dirty="0">
                <a:solidFill>
                  <a:srgbClr val="303030"/>
                </a:solidFill>
                <a:ea typeface="MS PGothic" panose="020B0600070205080204" pitchFamily="34" charset="-128"/>
                <a:cs typeface="Arial"/>
              </a:rPr>
              <a:t>Oppslagsverk term</a:t>
            </a:r>
          </a:p>
        </p:txBody>
      </p:sp>
      <p:sp>
        <p:nvSpPr>
          <p:cNvPr id="97" name="TekstSylinder 96"/>
          <p:cNvSpPr txBox="1"/>
          <p:nvPr/>
        </p:nvSpPr>
        <p:spPr>
          <a:xfrm>
            <a:off x="2576158" y="2404370"/>
            <a:ext cx="2415416" cy="276999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txBody>
          <a:bodyPr wrap="square" rtlCol="0">
            <a:spAutoFit/>
          </a:bodyPr>
          <a:lstStyle/>
          <a:p>
            <a:r>
              <a:rPr lang="nb-NO" sz="1200" b="1" dirty="0">
                <a:solidFill>
                  <a:srgbClr val="303030"/>
                </a:solidFill>
                <a:ea typeface="MS PGothic" panose="020B0600070205080204" pitchFamily="34" charset="-128"/>
                <a:cs typeface="Arial"/>
              </a:rPr>
              <a:t>[D]</a:t>
            </a:r>
            <a:r>
              <a:rPr lang="nb-NO" sz="1200" dirty="0">
                <a:solidFill>
                  <a:srgbClr val="303030"/>
                </a:solidFill>
                <a:ea typeface="MS PGothic" panose="020B0600070205080204" pitchFamily="34" charset="-128"/>
                <a:cs typeface="Arial"/>
              </a:rPr>
              <a:t>-Personlig kunnskapssenter</a:t>
            </a:r>
          </a:p>
        </p:txBody>
      </p:sp>
      <p:sp>
        <p:nvSpPr>
          <p:cNvPr id="98" name="TekstSylinder 97"/>
          <p:cNvSpPr txBox="1"/>
          <p:nvPr/>
        </p:nvSpPr>
        <p:spPr>
          <a:xfrm>
            <a:off x="2339756" y="4651142"/>
            <a:ext cx="2377693" cy="276999"/>
          </a:xfrm>
          <a:prstGeom prst="rect">
            <a:avLst/>
          </a:prstGeom>
          <a:solidFill>
            <a:srgbClr val="BCE292"/>
          </a:solidFill>
        </p:spPr>
        <p:txBody>
          <a:bodyPr wrap="square" rtlCol="0">
            <a:spAutoFit/>
          </a:bodyPr>
          <a:lstStyle/>
          <a:p>
            <a:r>
              <a:rPr lang="nb-NO" sz="1200" b="1" dirty="0">
                <a:solidFill>
                  <a:srgbClr val="303030"/>
                </a:solidFill>
                <a:ea typeface="MS PGothic" panose="020B0600070205080204" pitchFamily="34" charset="-128"/>
                <a:cs typeface="Arial"/>
              </a:rPr>
              <a:t>[E]-</a:t>
            </a:r>
            <a:r>
              <a:rPr lang="nb-NO" sz="1200" dirty="0">
                <a:solidFill>
                  <a:srgbClr val="303030"/>
                </a:solidFill>
                <a:ea typeface="MS PGothic" panose="020B0600070205080204" pitchFamily="34" charset="-128"/>
                <a:cs typeface="Arial"/>
              </a:rPr>
              <a:t>Behandlerhistorikk, fastlege</a:t>
            </a:r>
          </a:p>
        </p:txBody>
      </p:sp>
      <p:sp>
        <p:nvSpPr>
          <p:cNvPr id="100" name="TekstSylinder 99"/>
          <p:cNvSpPr txBox="1"/>
          <p:nvPr/>
        </p:nvSpPr>
        <p:spPr>
          <a:xfrm>
            <a:off x="2830905" y="2706371"/>
            <a:ext cx="2533184" cy="307777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txBody>
          <a:bodyPr wrap="square" lIns="72000" rIns="72000" rtlCol="0">
            <a:spAutoFit/>
          </a:bodyPr>
          <a:lstStyle/>
          <a:p>
            <a:r>
              <a:rPr lang="nb-NO" sz="1400" b="1" dirty="0">
                <a:solidFill>
                  <a:srgbClr val="303030"/>
                </a:solidFill>
                <a:ea typeface="MS PGothic" panose="020B0600070205080204" pitchFamily="34" charset="-128"/>
                <a:cs typeface="Arial"/>
              </a:rPr>
              <a:t>[</a:t>
            </a:r>
            <a:r>
              <a:rPr lang="nb-NO" sz="1200" b="1" dirty="0">
                <a:solidFill>
                  <a:srgbClr val="303030"/>
                </a:solidFill>
                <a:ea typeface="MS PGothic" panose="020B0600070205080204" pitchFamily="34" charset="-128"/>
                <a:cs typeface="Arial"/>
              </a:rPr>
              <a:t>E]-</a:t>
            </a:r>
            <a:r>
              <a:rPr lang="nb-NO" sz="1200" dirty="0">
                <a:solidFill>
                  <a:srgbClr val="303030"/>
                </a:solidFill>
                <a:ea typeface="MS PGothic" panose="020B0600070205080204" pitchFamily="34" charset="-128"/>
                <a:cs typeface="Arial"/>
              </a:rPr>
              <a:t>Behandlerhistorikk, spesialist</a:t>
            </a:r>
          </a:p>
        </p:txBody>
      </p:sp>
      <p:sp>
        <p:nvSpPr>
          <p:cNvPr id="101" name="TekstSylinder 100"/>
          <p:cNvSpPr txBox="1"/>
          <p:nvPr/>
        </p:nvSpPr>
        <p:spPr>
          <a:xfrm>
            <a:off x="1619672" y="4109408"/>
            <a:ext cx="1964124" cy="276999"/>
          </a:xfrm>
          <a:prstGeom prst="rect">
            <a:avLst/>
          </a:prstGeom>
          <a:gradFill flip="none" rotWithShape="1">
            <a:gsLst>
              <a:gs pos="0">
                <a:srgbClr val="BCE292"/>
              </a:gs>
              <a:gs pos="49000">
                <a:schemeClr val="accent2">
                  <a:lumMod val="40000"/>
                  <a:lumOff val="60000"/>
                </a:schemeClr>
              </a:gs>
              <a:gs pos="98000">
                <a:schemeClr val="accent2">
                  <a:lumMod val="40000"/>
                  <a:lumOff val="60000"/>
                </a:schemeClr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nb-NO" sz="1200" b="1" dirty="0">
                <a:solidFill>
                  <a:srgbClr val="303030"/>
                </a:solidFill>
                <a:ea typeface="MS PGothic" panose="020B0600070205080204" pitchFamily="34" charset="-128"/>
                <a:cs typeface="Arial"/>
              </a:rPr>
              <a:t>[E]-</a:t>
            </a:r>
            <a:r>
              <a:rPr lang="nb-NO" sz="1200" dirty="0">
                <a:solidFill>
                  <a:srgbClr val="303030"/>
                </a:solidFill>
                <a:ea typeface="MS PGothic" panose="020B0600070205080204" pitchFamily="34" charset="-128"/>
                <a:cs typeface="Arial"/>
              </a:rPr>
              <a:t>Velg behandlingssted</a:t>
            </a:r>
          </a:p>
        </p:txBody>
      </p:sp>
      <p:sp>
        <p:nvSpPr>
          <p:cNvPr id="102" name="TekstSylinder 101"/>
          <p:cNvSpPr txBox="1"/>
          <p:nvPr/>
        </p:nvSpPr>
        <p:spPr>
          <a:xfrm>
            <a:off x="755577" y="3902828"/>
            <a:ext cx="1943502" cy="276999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txBody>
          <a:bodyPr wrap="square" rtlCol="0">
            <a:spAutoFit/>
          </a:bodyPr>
          <a:lstStyle/>
          <a:p>
            <a:r>
              <a:rPr lang="nb-NO" sz="1200" b="1" dirty="0">
                <a:solidFill>
                  <a:srgbClr val="303030"/>
                </a:solidFill>
                <a:ea typeface="MS PGothic" panose="020B0600070205080204" pitchFamily="34" charset="-128"/>
                <a:cs typeface="Arial"/>
              </a:rPr>
              <a:t>[G]-</a:t>
            </a:r>
            <a:r>
              <a:rPr lang="nb-NO" sz="1200" dirty="0">
                <a:solidFill>
                  <a:srgbClr val="303030"/>
                </a:solidFill>
                <a:ea typeface="MS PGothic" panose="020B0600070205080204" pitchFamily="34" charset="-128"/>
                <a:cs typeface="Arial"/>
              </a:rPr>
              <a:t>Pilot beslutningsstøtte</a:t>
            </a:r>
          </a:p>
        </p:txBody>
      </p:sp>
      <p:sp>
        <p:nvSpPr>
          <p:cNvPr id="103" name="TekstSylinder 102"/>
          <p:cNvSpPr txBox="1"/>
          <p:nvPr/>
        </p:nvSpPr>
        <p:spPr>
          <a:xfrm>
            <a:off x="611560" y="627534"/>
            <a:ext cx="2160240" cy="27699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r>
              <a:rPr lang="nb-NO" sz="1200" b="1" dirty="0">
                <a:solidFill>
                  <a:srgbClr val="303030"/>
                </a:solidFill>
                <a:ea typeface="MS PGothic" panose="020B0600070205080204" pitchFamily="34" charset="-128"/>
                <a:cs typeface="Arial"/>
              </a:rPr>
              <a:t>[C]- </a:t>
            </a:r>
            <a:r>
              <a:rPr lang="nb-NO" sz="1200" dirty="0">
                <a:solidFill>
                  <a:srgbClr val="303030"/>
                </a:solidFill>
                <a:ea typeface="MS PGothic" panose="020B0600070205080204" pitchFamily="34" charset="-128"/>
                <a:cs typeface="Arial"/>
              </a:rPr>
              <a:t>Livmorhalsprogrammet</a:t>
            </a:r>
          </a:p>
        </p:txBody>
      </p:sp>
      <p:sp>
        <p:nvSpPr>
          <p:cNvPr id="104" name="TekstSylinder 103"/>
          <p:cNvSpPr txBox="1"/>
          <p:nvPr/>
        </p:nvSpPr>
        <p:spPr>
          <a:xfrm>
            <a:off x="5076775" y="1234815"/>
            <a:ext cx="1799485" cy="276999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txBody>
          <a:bodyPr wrap="square" rtlCol="0">
            <a:spAutoFit/>
          </a:bodyPr>
          <a:lstStyle/>
          <a:p>
            <a:r>
              <a:rPr lang="nb-NO" sz="1200" b="1" dirty="0">
                <a:solidFill>
                  <a:srgbClr val="303030"/>
                </a:solidFill>
                <a:ea typeface="MS PGothic" panose="020B0600070205080204" pitchFamily="34" charset="-128"/>
                <a:cs typeface="Arial"/>
              </a:rPr>
              <a:t>[I]-</a:t>
            </a:r>
            <a:r>
              <a:rPr lang="nb-NO" sz="1200" dirty="0">
                <a:solidFill>
                  <a:srgbClr val="303030"/>
                </a:solidFill>
                <a:ea typeface="MS PGothic" panose="020B0600070205080204" pitchFamily="34" charset="-128"/>
                <a:cs typeface="Arial"/>
              </a:rPr>
              <a:t>Samhandlingsarena</a:t>
            </a:r>
          </a:p>
        </p:txBody>
      </p:sp>
      <p:sp>
        <p:nvSpPr>
          <p:cNvPr id="105" name="TekstSylinder 104"/>
          <p:cNvSpPr txBox="1"/>
          <p:nvPr/>
        </p:nvSpPr>
        <p:spPr>
          <a:xfrm>
            <a:off x="6669154" y="4443174"/>
            <a:ext cx="1719270" cy="276999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</p:spPr>
        <p:txBody>
          <a:bodyPr wrap="square" rtlCol="0">
            <a:spAutoFit/>
          </a:bodyPr>
          <a:lstStyle>
            <a:defPPr>
              <a:defRPr lang="nn-NO"/>
            </a:defPPr>
            <a:lvl1pPr fontAlgn="auto">
              <a:spcBef>
                <a:spcPts val="0"/>
              </a:spcBef>
              <a:spcAft>
                <a:spcPts val="0"/>
              </a:spcAft>
              <a:defRPr sz="1200" b="1">
                <a:solidFill>
                  <a:srgbClr val="303030"/>
                </a:solidFill>
                <a:latin typeface="Arial"/>
                <a:ea typeface="+mn-ea"/>
                <a:cs typeface="Arial"/>
              </a:defRPr>
            </a:lvl1pPr>
          </a:lstStyle>
          <a:p>
            <a:r>
              <a:rPr lang="nb-NO" dirty="0"/>
              <a:t>[J</a:t>
            </a:r>
            <a:r>
              <a:rPr lang="nb-NO" b="0" dirty="0"/>
              <a:t>]-Personvern del 2</a:t>
            </a:r>
          </a:p>
        </p:txBody>
      </p:sp>
      <p:sp>
        <p:nvSpPr>
          <p:cNvPr id="106" name="TekstSylinder 105"/>
          <p:cNvSpPr txBox="1"/>
          <p:nvPr/>
        </p:nvSpPr>
        <p:spPr>
          <a:xfrm>
            <a:off x="5008159" y="2949794"/>
            <a:ext cx="2008907" cy="276999"/>
          </a:xfrm>
          <a:prstGeom prst="rect">
            <a:avLst/>
          </a:prstGeom>
          <a:solidFill>
            <a:srgbClr val="BCE292"/>
          </a:solidFill>
        </p:spPr>
        <p:txBody>
          <a:bodyPr wrap="square" rtlCol="0">
            <a:spAutoFit/>
          </a:bodyPr>
          <a:lstStyle/>
          <a:p>
            <a:r>
              <a:rPr lang="nb-NO" sz="1200" b="1">
                <a:solidFill>
                  <a:srgbClr val="303030"/>
                </a:solidFill>
                <a:ea typeface="MS PGothic" panose="020B0600070205080204" pitchFamily="34" charset="-128"/>
                <a:cs typeface="Arial"/>
              </a:rPr>
              <a:t>[A]-</a:t>
            </a:r>
            <a:r>
              <a:rPr lang="nb-NO" sz="1200" dirty="0">
                <a:solidFill>
                  <a:srgbClr val="303030"/>
                </a:solidFill>
                <a:ea typeface="MS PGothic" panose="020B0600070205080204" pitchFamily="34" charset="-128"/>
                <a:cs typeface="Arial"/>
              </a:rPr>
              <a:t>Selvbooking timer</a:t>
            </a:r>
          </a:p>
        </p:txBody>
      </p:sp>
      <p:sp>
        <p:nvSpPr>
          <p:cNvPr id="107" name="TekstSylinder 106"/>
          <p:cNvSpPr txBox="1"/>
          <p:nvPr/>
        </p:nvSpPr>
        <p:spPr>
          <a:xfrm>
            <a:off x="4640860" y="4138025"/>
            <a:ext cx="1833816" cy="276999"/>
          </a:xfrm>
          <a:prstGeom prst="rect">
            <a:avLst/>
          </a:prstGeom>
          <a:solidFill>
            <a:srgbClr val="BCE292"/>
          </a:solidFill>
        </p:spPr>
        <p:txBody>
          <a:bodyPr wrap="square" rtlCol="0">
            <a:spAutoFit/>
          </a:bodyPr>
          <a:lstStyle/>
          <a:p>
            <a:r>
              <a:rPr lang="nb-NO" sz="1200" b="1">
                <a:solidFill>
                  <a:srgbClr val="303030"/>
                </a:solidFill>
                <a:ea typeface="MS PGothic" panose="020B0600070205080204" pitchFamily="34" charset="-128"/>
                <a:cs typeface="Arial"/>
              </a:rPr>
              <a:t>[A]-</a:t>
            </a:r>
            <a:r>
              <a:rPr lang="nb-NO" sz="1200" dirty="0">
                <a:solidFill>
                  <a:srgbClr val="303030"/>
                </a:solidFill>
                <a:ea typeface="MS PGothic" panose="020B0600070205080204" pitchFamily="34" charset="-128"/>
                <a:cs typeface="Arial"/>
              </a:rPr>
              <a:t>Vise/</a:t>
            </a:r>
            <a:r>
              <a:rPr lang="nb-NO" sz="1200" dirty="0" err="1">
                <a:solidFill>
                  <a:srgbClr val="303030"/>
                </a:solidFill>
                <a:ea typeface="MS PGothic" panose="020B0600070205080204" pitchFamily="34" charset="-128"/>
                <a:cs typeface="Arial"/>
              </a:rPr>
              <a:t>adm</a:t>
            </a:r>
            <a:r>
              <a:rPr lang="nb-NO" sz="1200" dirty="0">
                <a:solidFill>
                  <a:srgbClr val="303030"/>
                </a:solidFill>
                <a:ea typeface="MS PGothic" panose="020B0600070205080204" pitchFamily="34" charset="-128"/>
                <a:cs typeface="Arial"/>
              </a:rPr>
              <a:t> time</a:t>
            </a:r>
          </a:p>
        </p:txBody>
      </p:sp>
      <p:sp>
        <p:nvSpPr>
          <p:cNvPr id="108" name="TekstSylinder 107"/>
          <p:cNvSpPr txBox="1"/>
          <p:nvPr/>
        </p:nvSpPr>
        <p:spPr>
          <a:xfrm>
            <a:off x="6367910" y="1383620"/>
            <a:ext cx="1300434" cy="276999"/>
          </a:xfrm>
          <a:prstGeom prst="rect">
            <a:avLst/>
          </a:prstGeom>
          <a:solidFill>
            <a:srgbClr val="BCE292"/>
          </a:solidFill>
        </p:spPr>
        <p:txBody>
          <a:bodyPr wrap="square" rtlCol="0">
            <a:spAutoFit/>
          </a:bodyPr>
          <a:lstStyle/>
          <a:p>
            <a:r>
              <a:rPr lang="nb-NO" sz="1200" b="1">
                <a:solidFill>
                  <a:srgbClr val="303030"/>
                </a:solidFill>
                <a:ea typeface="MS PGothic" panose="020B0600070205080204" pitchFamily="34" charset="-128"/>
                <a:cs typeface="Arial"/>
              </a:rPr>
              <a:t>[A]-</a:t>
            </a:r>
            <a:r>
              <a:rPr lang="nb-NO" sz="1200" dirty="0">
                <a:solidFill>
                  <a:srgbClr val="303030"/>
                </a:solidFill>
                <a:ea typeface="MS PGothic" panose="020B0600070205080204" pitchFamily="34" charset="-128"/>
                <a:cs typeface="Arial"/>
              </a:rPr>
              <a:t>Avrop time</a:t>
            </a:r>
          </a:p>
        </p:txBody>
      </p:sp>
      <p:sp>
        <p:nvSpPr>
          <p:cNvPr id="109" name="TekstSylinder 108"/>
          <p:cNvSpPr txBox="1"/>
          <p:nvPr/>
        </p:nvSpPr>
        <p:spPr>
          <a:xfrm>
            <a:off x="3059835" y="4399901"/>
            <a:ext cx="1657613" cy="276999"/>
          </a:xfrm>
          <a:prstGeom prst="rect">
            <a:avLst/>
          </a:prstGeom>
          <a:solidFill>
            <a:srgbClr val="BCE292"/>
          </a:solidFill>
        </p:spPr>
        <p:txBody>
          <a:bodyPr wrap="square" rtlCol="0">
            <a:spAutoFit/>
          </a:bodyPr>
          <a:lstStyle/>
          <a:p>
            <a:r>
              <a:rPr lang="nb-NO" sz="1200" b="1">
                <a:solidFill>
                  <a:srgbClr val="303030"/>
                </a:solidFill>
                <a:ea typeface="MS PGothic" panose="020B0600070205080204" pitchFamily="34" charset="-128"/>
                <a:cs typeface="Arial"/>
              </a:rPr>
              <a:t>[B]-</a:t>
            </a:r>
            <a:r>
              <a:rPr lang="nb-NO" sz="1200" dirty="0">
                <a:solidFill>
                  <a:srgbClr val="303030"/>
                </a:solidFill>
                <a:ea typeface="MS PGothic" panose="020B0600070205080204" pitchFamily="34" charset="-128"/>
                <a:cs typeface="Arial"/>
              </a:rPr>
              <a:t>Dialog behandler</a:t>
            </a:r>
          </a:p>
        </p:txBody>
      </p:sp>
      <p:sp>
        <p:nvSpPr>
          <p:cNvPr id="111" name="TekstSylinder 110"/>
          <p:cNvSpPr txBox="1"/>
          <p:nvPr/>
        </p:nvSpPr>
        <p:spPr>
          <a:xfrm>
            <a:off x="4283969" y="3229268"/>
            <a:ext cx="1656184" cy="276999"/>
          </a:xfrm>
          <a:prstGeom prst="rect">
            <a:avLst/>
          </a:prstGeom>
          <a:solidFill>
            <a:srgbClr val="BCE292"/>
          </a:solidFill>
        </p:spPr>
        <p:txBody>
          <a:bodyPr wrap="square" rtlCol="0">
            <a:spAutoFit/>
          </a:bodyPr>
          <a:lstStyle/>
          <a:p>
            <a:r>
              <a:rPr lang="nb-NO" sz="1200" b="1">
                <a:solidFill>
                  <a:srgbClr val="303030"/>
                </a:solidFill>
                <a:ea typeface="MS PGothic" panose="020B0600070205080204" pitchFamily="34" charset="-128"/>
                <a:cs typeface="Arial"/>
              </a:rPr>
              <a:t>[B]-</a:t>
            </a:r>
            <a:r>
              <a:rPr lang="nb-NO" sz="1200">
                <a:solidFill>
                  <a:srgbClr val="303030"/>
                </a:solidFill>
                <a:ea typeface="MS PGothic" panose="020B0600070205080204" pitchFamily="34" charset="-128"/>
                <a:cs typeface="Arial"/>
              </a:rPr>
              <a:t>Strukturert dialog</a:t>
            </a:r>
            <a:endParaRPr lang="nb-NO" sz="1200" dirty="0">
              <a:solidFill>
                <a:srgbClr val="303030"/>
              </a:solidFill>
              <a:ea typeface="MS PGothic" panose="020B0600070205080204" pitchFamily="34" charset="-128"/>
              <a:cs typeface="Arial"/>
            </a:endParaRPr>
          </a:p>
        </p:txBody>
      </p:sp>
      <p:sp>
        <p:nvSpPr>
          <p:cNvPr id="112" name="TekstSylinder 111"/>
          <p:cNvSpPr txBox="1"/>
          <p:nvPr/>
        </p:nvSpPr>
        <p:spPr>
          <a:xfrm>
            <a:off x="5758890" y="1726544"/>
            <a:ext cx="1621422" cy="276999"/>
          </a:xfrm>
          <a:prstGeom prst="rect">
            <a:avLst/>
          </a:prstGeom>
          <a:solidFill>
            <a:srgbClr val="BCE292"/>
          </a:solidFill>
        </p:spPr>
        <p:txBody>
          <a:bodyPr wrap="square" rtlCol="0">
            <a:spAutoFit/>
          </a:bodyPr>
          <a:lstStyle/>
          <a:p>
            <a:r>
              <a:rPr lang="nb-NO" sz="1200" b="1">
                <a:solidFill>
                  <a:srgbClr val="303030"/>
                </a:solidFill>
                <a:ea typeface="MS PGothic" panose="020B0600070205080204" pitchFamily="34" charset="-128"/>
                <a:cs typeface="Arial"/>
              </a:rPr>
              <a:t>[B]-</a:t>
            </a:r>
            <a:r>
              <a:rPr lang="nb-NO" sz="1200" dirty="0">
                <a:solidFill>
                  <a:srgbClr val="303030"/>
                </a:solidFill>
                <a:ea typeface="MS PGothic" panose="020B0600070205080204" pitchFamily="34" charset="-128"/>
                <a:cs typeface="Arial"/>
              </a:rPr>
              <a:t>Individuell plan</a:t>
            </a:r>
          </a:p>
        </p:txBody>
      </p:sp>
      <p:sp>
        <p:nvSpPr>
          <p:cNvPr id="113" name="TekstSylinder 112"/>
          <p:cNvSpPr txBox="1"/>
          <p:nvPr/>
        </p:nvSpPr>
        <p:spPr>
          <a:xfrm>
            <a:off x="5370476" y="2409735"/>
            <a:ext cx="1413655" cy="276999"/>
          </a:xfrm>
          <a:prstGeom prst="rect">
            <a:avLst/>
          </a:prstGeom>
          <a:solidFill>
            <a:srgbClr val="BCE292"/>
          </a:solidFill>
        </p:spPr>
        <p:txBody>
          <a:bodyPr wrap="square" rtlCol="0">
            <a:spAutoFit/>
          </a:bodyPr>
          <a:lstStyle/>
          <a:p>
            <a:r>
              <a:rPr lang="nb-NO" sz="1200" b="1">
                <a:solidFill>
                  <a:srgbClr val="303030"/>
                </a:solidFill>
                <a:ea typeface="MS PGothic" panose="020B0600070205080204" pitchFamily="34" charset="-128"/>
                <a:cs typeface="Arial"/>
              </a:rPr>
              <a:t>[F]-</a:t>
            </a:r>
            <a:r>
              <a:rPr lang="nb-NO" sz="1200">
                <a:solidFill>
                  <a:srgbClr val="303030"/>
                </a:solidFill>
                <a:ea typeface="MS PGothic" panose="020B0600070205080204" pitchFamily="34" charset="-128"/>
                <a:cs typeface="Arial"/>
              </a:rPr>
              <a:t>Innsyn journal</a:t>
            </a:r>
            <a:endParaRPr lang="nb-NO" sz="1200" dirty="0">
              <a:solidFill>
                <a:srgbClr val="303030"/>
              </a:solidFill>
              <a:ea typeface="MS PGothic" panose="020B0600070205080204" pitchFamily="34" charset="-128"/>
              <a:cs typeface="Arial"/>
            </a:endParaRPr>
          </a:p>
        </p:txBody>
      </p:sp>
      <p:sp>
        <p:nvSpPr>
          <p:cNvPr id="114" name="TekstSylinder 113"/>
          <p:cNvSpPr txBox="1"/>
          <p:nvPr/>
        </p:nvSpPr>
        <p:spPr>
          <a:xfrm>
            <a:off x="3491880" y="3733040"/>
            <a:ext cx="1823856" cy="276999"/>
          </a:xfrm>
          <a:prstGeom prst="rect">
            <a:avLst/>
          </a:prstGeom>
          <a:solidFill>
            <a:srgbClr val="BCE292"/>
          </a:solidFill>
        </p:spPr>
        <p:txBody>
          <a:bodyPr wrap="square" rtlCol="0">
            <a:spAutoFit/>
          </a:bodyPr>
          <a:lstStyle/>
          <a:p>
            <a:r>
              <a:rPr lang="nb-NO" sz="1200" b="1">
                <a:solidFill>
                  <a:srgbClr val="303030"/>
                </a:solidFill>
                <a:ea typeface="MS PGothic" panose="020B0600070205080204" pitchFamily="34" charset="-128"/>
                <a:cs typeface="Arial"/>
              </a:rPr>
              <a:t>[C]-</a:t>
            </a:r>
            <a:r>
              <a:rPr lang="nb-NO" sz="1200">
                <a:solidFill>
                  <a:srgbClr val="303030"/>
                </a:solidFill>
                <a:ea typeface="MS PGothic" panose="020B0600070205080204" pitchFamily="34" charset="-128"/>
                <a:cs typeface="Arial"/>
              </a:rPr>
              <a:t>Tilpasset helseinfo</a:t>
            </a:r>
            <a:endParaRPr lang="nb-NO" sz="1200" dirty="0">
              <a:solidFill>
                <a:srgbClr val="303030"/>
              </a:solidFill>
              <a:ea typeface="MS PGothic" panose="020B0600070205080204" pitchFamily="34" charset="-128"/>
              <a:cs typeface="Arial"/>
            </a:endParaRPr>
          </a:p>
        </p:txBody>
      </p:sp>
      <p:sp>
        <p:nvSpPr>
          <p:cNvPr id="116" name="TekstSylinder 115"/>
          <p:cNvSpPr txBox="1"/>
          <p:nvPr/>
        </p:nvSpPr>
        <p:spPr>
          <a:xfrm>
            <a:off x="5071951" y="3517016"/>
            <a:ext cx="1300250" cy="276999"/>
          </a:xfrm>
          <a:prstGeom prst="rect">
            <a:avLst/>
          </a:prstGeom>
          <a:solidFill>
            <a:srgbClr val="BCE292"/>
          </a:solidFill>
        </p:spPr>
        <p:txBody>
          <a:bodyPr wrap="square" rtlCol="0">
            <a:spAutoFit/>
          </a:bodyPr>
          <a:lstStyle/>
          <a:p>
            <a:r>
              <a:rPr lang="nb-NO" sz="1200" b="1">
                <a:solidFill>
                  <a:srgbClr val="303030"/>
                </a:solidFill>
                <a:ea typeface="MS PGothic" panose="020B0600070205080204" pitchFamily="34" charset="-128"/>
                <a:cs typeface="Arial"/>
              </a:rPr>
              <a:t>[H</a:t>
            </a:r>
            <a:r>
              <a:rPr lang="nb-NO" sz="1200">
                <a:solidFill>
                  <a:srgbClr val="303030"/>
                </a:solidFill>
                <a:ea typeface="MS PGothic" panose="020B0600070205080204" pitchFamily="34" charset="-128"/>
                <a:cs typeface="Arial"/>
              </a:rPr>
              <a:t>]-Innsyn sak</a:t>
            </a:r>
            <a:endParaRPr lang="nb-NO" sz="1200" dirty="0">
              <a:solidFill>
                <a:srgbClr val="303030"/>
              </a:solidFill>
              <a:ea typeface="MS PGothic" panose="020B0600070205080204" pitchFamily="34" charset="-128"/>
              <a:cs typeface="Arial"/>
            </a:endParaRPr>
          </a:p>
        </p:txBody>
      </p:sp>
      <p:sp>
        <p:nvSpPr>
          <p:cNvPr id="117" name="TekstSylinder 116"/>
          <p:cNvSpPr txBox="1"/>
          <p:nvPr/>
        </p:nvSpPr>
        <p:spPr>
          <a:xfrm>
            <a:off x="589728" y="915566"/>
            <a:ext cx="2625036" cy="646331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r>
              <a:rPr lang="nb-NO" sz="1200" b="1" dirty="0">
                <a:solidFill>
                  <a:srgbClr val="303030"/>
                </a:solidFill>
                <a:ea typeface="MS PGothic" panose="020B0600070205080204" pitchFamily="34" charset="-128"/>
                <a:cs typeface="Arial"/>
              </a:rPr>
              <a:t>[C]- </a:t>
            </a:r>
            <a:r>
              <a:rPr lang="nb-NO" sz="1200" dirty="0">
                <a:solidFill>
                  <a:srgbClr val="303030"/>
                </a:solidFill>
                <a:ea typeface="MS PGothic" panose="020B0600070205080204" pitchFamily="34" charset="-128"/>
                <a:cs typeface="Arial"/>
              </a:rPr>
              <a:t>Oppslag (kreft-, vaksine-, &amp; </a:t>
            </a:r>
            <a:r>
              <a:rPr lang="nb-NO" sz="1200" dirty="0" err="1">
                <a:solidFill>
                  <a:srgbClr val="303030"/>
                </a:solidFill>
                <a:ea typeface="MS PGothic" panose="020B0600070205080204" pitchFamily="34" charset="-128"/>
                <a:cs typeface="Arial"/>
              </a:rPr>
              <a:t>nasj</a:t>
            </a:r>
            <a:r>
              <a:rPr lang="nb-NO" sz="1200" dirty="0">
                <a:solidFill>
                  <a:srgbClr val="303030"/>
                </a:solidFill>
                <a:ea typeface="MS PGothic" panose="020B0600070205080204" pitchFamily="34" charset="-128"/>
                <a:cs typeface="Arial"/>
              </a:rPr>
              <a:t>. fødselsregister) Søke om innsyn (alle andre registre)</a:t>
            </a:r>
          </a:p>
        </p:txBody>
      </p:sp>
      <p:sp>
        <p:nvSpPr>
          <p:cNvPr id="131" name="TekstSylinder 130"/>
          <p:cNvSpPr txBox="1"/>
          <p:nvPr/>
        </p:nvSpPr>
        <p:spPr>
          <a:xfrm>
            <a:off x="589731" y="1509502"/>
            <a:ext cx="1377215" cy="27699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r>
              <a:rPr lang="nb-NO" sz="1200" b="1" dirty="0">
                <a:solidFill>
                  <a:srgbClr val="303030"/>
                </a:solidFill>
                <a:ea typeface="MS PGothic" panose="020B0600070205080204" pitchFamily="34" charset="-128"/>
                <a:cs typeface="Arial"/>
              </a:rPr>
              <a:t>[J]- </a:t>
            </a:r>
            <a:r>
              <a:rPr lang="nb-NO" sz="1200" dirty="0">
                <a:solidFill>
                  <a:srgbClr val="303030"/>
                </a:solidFill>
                <a:ea typeface="MS PGothic" panose="020B0600070205080204" pitchFamily="34" charset="-128"/>
                <a:cs typeface="Arial"/>
              </a:rPr>
              <a:t>Reservasjon</a:t>
            </a:r>
          </a:p>
        </p:txBody>
      </p:sp>
      <p:sp>
        <p:nvSpPr>
          <p:cNvPr id="134" name="TekstSylinder 133"/>
          <p:cNvSpPr txBox="1"/>
          <p:nvPr/>
        </p:nvSpPr>
        <p:spPr>
          <a:xfrm>
            <a:off x="4860033" y="4649234"/>
            <a:ext cx="1411103" cy="307777"/>
          </a:xfrm>
          <a:prstGeom prst="rect">
            <a:avLst/>
          </a:prstGeom>
          <a:solidFill>
            <a:srgbClr val="BCE292"/>
          </a:solidFill>
        </p:spPr>
        <p:txBody>
          <a:bodyPr wrap="square" rtlCol="0">
            <a:spAutoFit/>
          </a:bodyPr>
          <a:lstStyle/>
          <a:p>
            <a:r>
              <a:rPr lang="nb-NO" sz="1400" b="1" dirty="0">
                <a:solidFill>
                  <a:srgbClr val="303030"/>
                </a:solidFill>
                <a:ea typeface="MS PGothic" panose="020B0600070205080204" pitchFamily="34" charset="-128"/>
                <a:cs typeface="Arial"/>
              </a:rPr>
              <a:t>[</a:t>
            </a:r>
            <a:r>
              <a:rPr lang="nb-NO" sz="1200" b="1">
                <a:solidFill>
                  <a:srgbClr val="303030"/>
                </a:solidFill>
                <a:ea typeface="MS PGothic" panose="020B0600070205080204" pitchFamily="34" charset="-128"/>
                <a:cs typeface="Arial"/>
              </a:rPr>
              <a:t>E]- </a:t>
            </a:r>
            <a:r>
              <a:rPr lang="nb-NO" sz="1200">
                <a:solidFill>
                  <a:srgbClr val="303030"/>
                </a:solidFill>
                <a:ea typeface="MS PGothic" panose="020B0600070205080204" pitchFamily="34" charset="-128"/>
                <a:cs typeface="Arial"/>
              </a:rPr>
              <a:t>Bytt </a:t>
            </a:r>
            <a:r>
              <a:rPr lang="nb-NO" sz="1200" dirty="0">
                <a:solidFill>
                  <a:srgbClr val="303030"/>
                </a:solidFill>
                <a:ea typeface="MS PGothic" panose="020B0600070205080204" pitchFamily="34" charset="-128"/>
                <a:cs typeface="Arial"/>
              </a:rPr>
              <a:t>Fastlege</a:t>
            </a:r>
          </a:p>
        </p:txBody>
      </p:sp>
      <p:sp>
        <p:nvSpPr>
          <p:cNvPr id="135" name="TekstSylinder 12"/>
          <p:cNvSpPr txBox="1"/>
          <p:nvPr/>
        </p:nvSpPr>
        <p:spPr>
          <a:xfrm>
            <a:off x="5540112" y="1977687"/>
            <a:ext cx="1552168" cy="276999"/>
          </a:xfrm>
          <a:prstGeom prst="rect">
            <a:avLst/>
          </a:prstGeom>
          <a:solidFill>
            <a:srgbClr val="BCE292"/>
          </a:solidFill>
        </p:spPr>
        <p:txBody>
          <a:bodyPr wrap="square" rtlCol="0">
            <a:spAutoFit/>
          </a:bodyPr>
          <a:lstStyle/>
          <a:p>
            <a:r>
              <a:rPr lang="nb-NO" sz="1200" b="1" dirty="0">
                <a:solidFill>
                  <a:srgbClr val="303030"/>
                </a:solidFill>
                <a:ea typeface="MS PGothic" panose="020B0600070205080204" pitchFamily="34" charset="-128"/>
                <a:cs typeface="Arial"/>
              </a:rPr>
              <a:t>[C]-</a:t>
            </a:r>
            <a:r>
              <a:rPr lang="nb-NO" sz="1200" dirty="0">
                <a:solidFill>
                  <a:srgbClr val="303030"/>
                </a:solidFill>
                <a:ea typeface="MS PGothic" panose="020B0600070205080204" pitchFamily="34" charset="-128"/>
                <a:cs typeface="Arial"/>
              </a:rPr>
              <a:t>Egen helseinfo</a:t>
            </a:r>
          </a:p>
        </p:txBody>
      </p:sp>
      <p:sp>
        <p:nvSpPr>
          <p:cNvPr id="136" name="TekstSylinder 14"/>
          <p:cNvSpPr txBox="1"/>
          <p:nvPr/>
        </p:nvSpPr>
        <p:spPr>
          <a:xfrm>
            <a:off x="7213080" y="4220117"/>
            <a:ext cx="1488846" cy="276999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</p:spPr>
        <p:txBody>
          <a:bodyPr wrap="square" rtlCol="0">
            <a:spAutoFit/>
          </a:bodyPr>
          <a:lstStyle/>
          <a:p>
            <a:r>
              <a:rPr lang="nb-NO" sz="1200" b="1" dirty="0">
                <a:solidFill>
                  <a:srgbClr val="303030"/>
                </a:solidFill>
                <a:ea typeface="MS PGothic" panose="020B0600070205080204" pitchFamily="34" charset="-128"/>
                <a:cs typeface="Arial"/>
              </a:rPr>
              <a:t>[K]-</a:t>
            </a:r>
            <a:r>
              <a:rPr lang="nb-NO" sz="1200" dirty="0">
                <a:solidFill>
                  <a:srgbClr val="303030"/>
                </a:solidFill>
                <a:ea typeface="MS PGothic" panose="020B0600070205080204" pitchFamily="34" charset="-128"/>
                <a:cs typeface="Arial"/>
              </a:rPr>
              <a:t>Digitale skjema</a:t>
            </a:r>
          </a:p>
        </p:txBody>
      </p:sp>
      <p:sp>
        <p:nvSpPr>
          <p:cNvPr id="24" name="TekstSylinder 138"/>
          <p:cNvSpPr txBox="1"/>
          <p:nvPr/>
        </p:nvSpPr>
        <p:spPr>
          <a:xfrm>
            <a:off x="430403" y="1788319"/>
            <a:ext cx="1822032" cy="276999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 w="57150">
            <a:noFill/>
          </a:ln>
        </p:spPr>
        <p:txBody>
          <a:bodyPr wrap="square" rtlCol="0">
            <a:spAutoFit/>
          </a:bodyPr>
          <a:lstStyle/>
          <a:p>
            <a:r>
              <a:rPr lang="nb-NO" sz="1200" b="1" dirty="0">
                <a:solidFill>
                  <a:srgbClr val="303030"/>
                </a:solidFill>
                <a:ea typeface="MS PGothic" panose="020B0600070205080204" pitchFamily="34" charset="-128"/>
                <a:cs typeface="Arial"/>
              </a:rPr>
              <a:t>[F]-</a:t>
            </a:r>
            <a:r>
              <a:rPr lang="nb-NO" sz="1200" dirty="0">
                <a:solidFill>
                  <a:srgbClr val="303030"/>
                </a:solidFill>
                <a:ea typeface="MS PGothic" panose="020B0600070205080204" pitchFamily="34" charset="-128"/>
                <a:cs typeface="Arial"/>
              </a:rPr>
              <a:t>Innsyn journal XDS</a:t>
            </a:r>
          </a:p>
        </p:txBody>
      </p:sp>
      <p:sp>
        <p:nvSpPr>
          <p:cNvPr id="138" name="TekstSylinder 137"/>
          <p:cNvSpPr txBox="1"/>
          <p:nvPr/>
        </p:nvSpPr>
        <p:spPr>
          <a:xfrm>
            <a:off x="395541" y="2571753"/>
            <a:ext cx="2005081" cy="276999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txBody>
          <a:bodyPr wrap="square" rtlCol="0">
            <a:spAutoFit/>
          </a:bodyPr>
          <a:lstStyle/>
          <a:p>
            <a:r>
              <a:rPr lang="nb-NO" sz="1200" b="1" dirty="0">
                <a:solidFill>
                  <a:srgbClr val="303030"/>
                </a:solidFill>
                <a:ea typeface="MS PGothic" panose="020B0600070205080204" pitchFamily="34" charset="-128"/>
                <a:cs typeface="Arial"/>
              </a:rPr>
              <a:t>[A]- D</a:t>
            </a:r>
            <a:r>
              <a:rPr lang="nb-NO" sz="1200" dirty="0">
                <a:solidFill>
                  <a:srgbClr val="303030"/>
                </a:solidFill>
                <a:ea typeface="MS PGothic" panose="020B0600070205080204" pitchFamily="34" charset="-128"/>
                <a:cs typeface="Arial"/>
              </a:rPr>
              <a:t>ialogprofil</a:t>
            </a:r>
          </a:p>
        </p:txBody>
      </p:sp>
      <p:sp>
        <p:nvSpPr>
          <p:cNvPr id="133" name="Rektangel 132"/>
          <p:cNvSpPr/>
          <p:nvPr/>
        </p:nvSpPr>
        <p:spPr bwMode="auto">
          <a:xfrm>
            <a:off x="6474676" y="15824"/>
            <a:ext cx="2471744" cy="345813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nb-NO" sz="2400" dirty="0">
              <a:solidFill>
                <a:srgbClr val="FFFFFF"/>
              </a:solidFill>
              <a:ea typeface="MS PGothic" panose="020B0600070205080204" pitchFamily="34" charset="-128"/>
            </a:endParaRPr>
          </a:p>
        </p:txBody>
      </p:sp>
      <p:sp>
        <p:nvSpPr>
          <p:cNvPr id="137" name="TekstSylinder 3"/>
          <p:cNvSpPr txBox="1"/>
          <p:nvPr/>
        </p:nvSpPr>
        <p:spPr>
          <a:xfrm>
            <a:off x="0" y="15823"/>
            <a:ext cx="9252520" cy="400110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nb-NO" sz="2000" b="1" dirty="0" smtClean="0">
                <a:solidFill>
                  <a:srgbClr val="303030"/>
                </a:solidFill>
                <a:ea typeface="MS PGothic" panose="020B0600070205080204" pitchFamily="34" charset="-128"/>
                <a:cs typeface="Arial"/>
              </a:rPr>
              <a:t>Tentativt </a:t>
            </a:r>
            <a:r>
              <a:rPr lang="nb-NO" sz="2000" b="1" dirty="0" err="1" smtClean="0">
                <a:solidFill>
                  <a:srgbClr val="303030"/>
                </a:solidFill>
                <a:ea typeface="MS PGothic" panose="020B0600070205080204" pitchFamily="34" charset="-128"/>
                <a:cs typeface="Arial"/>
              </a:rPr>
              <a:t>veiikart</a:t>
            </a:r>
            <a:r>
              <a:rPr lang="nb-NO" sz="2000" b="1" dirty="0" smtClean="0">
                <a:solidFill>
                  <a:srgbClr val="303030"/>
                </a:solidFill>
                <a:ea typeface="MS PGothic" panose="020B0600070205080204" pitchFamily="34" charset="-128"/>
                <a:cs typeface="Arial"/>
              </a:rPr>
              <a:t> </a:t>
            </a:r>
            <a:r>
              <a:rPr lang="nb-NO" sz="2000" b="1" dirty="0">
                <a:solidFill>
                  <a:srgbClr val="303030"/>
                </a:solidFill>
                <a:ea typeface="MS PGothic" panose="020B0600070205080204" pitchFamily="34" charset="-128"/>
                <a:cs typeface="Arial"/>
              </a:rPr>
              <a:t>for tjenester på </a:t>
            </a:r>
            <a:r>
              <a:rPr lang="nb-NO" sz="2000" b="1" dirty="0" smtClean="0">
                <a:solidFill>
                  <a:srgbClr val="303030"/>
                </a:solidFill>
                <a:ea typeface="MS PGothic" panose="020B0600070205080204" pitchFamily="34" charset="-128"/>
                <a:cs typeface="Arial"/>
              </a:rPr>
              <a:t>helsenorge.no</a:t>
            </a:r>
            <a:endParaRPr lang="nb-NO" sz="2000" b="1" dirty="0">
              <a:solidFill>
                <a:srgbClr val="303030"/>
              </a:solidFill>
              <a:ea typeface="MS PGothic" panose="020B0600070205080204" pitchFamily="34" charset="-128"/>
              <a:cs typeface="Arial"/>
            </a:endParaRPr>
          </a:p>
        </p:txBody>
      </p:sp>
      <p:sp>
        <p:nvSpPr>
          <p:cNvPr id="140" name="TekstSylinder 139"/>
          <p:cNvSpPr txBox="1"/>
          <p:nvPr/>
        </p:nvSpPr>
        <p:spPr>
          <a:xfrm>
            <a:off x="7135191" y="2417863"/>
            <a:ext cx="1820321" cy="276999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</p:spPr>
        <p:txBody>
          <a:bodyPr wrap="square" rtlCol="0">
            <a:spAutoFit/>
          </a:bodyPr>
          <a:lstStyle/>
          <a:p>
            <a:r>
              <a:rPr lang="nb-NO" sz="1200" b="1" dirty="0">
                <a:solidFill>
                  <a:srgbClr val="303030"/>
                </a:solidFill>
                <a:ea typeface="MS PGothic" panose="020B0600070205080204" pitchFamily="34" charset="-128"/>
                <a:cs typeface="Arial"/>
              </a:rPr>
              <a:t>[D]-</a:t>
            </a:r>
            <a:r>
              <a:rPr lang="nb-NO" sz="1200" dirty="0">
                <a:solidFill>
                  <a:srgbClr val="303030"/>
                </a:solidFill>
                <a:ea typeface="MS PGothic" panose="020B0600070205080204" pitchFamily="34" charset="-128"/>
                <a:cs typeface="Arial"/>
              </a:rPr>
              <a:t>Eksterne </a:t>
            </a:r>
            <a:r>
              <a:rPr lang="nb-NO" sz="1200" dirty="0" err="1">
                <a:solidFill>
                  <a:srgbClr val="303030"/>
                </a:solidFill>
                <a:ea typeface="MS PGothic" panose="020B0600070205080204" pitchFamily="34" charset="-128"/>
                <a:cs typeface="Arial"/>
              </a:rPr>
              <a:t>Apper</a:t>
            </a:r>
            <a:endParaRPr lang="nb-NO" sz="1200" dirty="0">
              <a:solidFill>
                <a:srgbClr val="303030"/>
              </a:solidFill>
              <a:ea typeface="MS PGothic" panose="020B0600070205080204" pitchFamily="34" charset="-128"/>
              <a:cs typeface="Arial"/>
            </a:endParaRPr>
          </a:p>
        </p:txBody>
      </p:sp>
      <p:sp>
        <p:nvSpPr>
          <p:cNvPr id="132" name="TekstSylinder 131"/>
          <p:cNvSpPr txBox="1"/>
          <p:nvPr/>
        </p:nvSpPr>
        <p:spPr>
          <a:xfrm>
            <a:off x="650660" y="3669220"/>
            <a:ext cx="2180244" cy="276999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txBody>
          <a:bodyPr wrap="square" rtlCol="0">
            <a:spAutoFit/>
          </a:bodyPr>
          <a:lstStyle/>
          <a:p>
            <a:r>
              <a:rPr lang="nb-NO" sz="1200" b="1" dirty="0">
                <a:solidFill>
                  <a:srgbClr val="303030"/>
                </a:solidFill>
                <a:ea typeface="MS PGothic" panose="020B0600070205080204" pitchFamily="34" charset="-128"/>
                <a:cs typeface="Arial"/>
              </a:rPr>
              <a:t>[B]-</a:t>
            </a:r>
            <a:r>
              <a:rPr lang="nb-NO" sz="1200" dirty="0">
                <a:solidFill>
                  <a:srgbClr val="303030"/>
                </a:solidFill>
                <a:ea typeface="MS PGothic" panose="020B0600070205080204" pitchFamily="34" charset="-128"/>
                <a:cs typeface="Arial"/>
              </a:rPr>
              <a:t>Piloter velferdsteknologi</a:t>
            </a:r>
            <a:endParaRPr lang="nb-NO" sz="1600" dirty="0">
              <a:solidFill>
                <a:srgbClr val="303030"/>
              </a:solidFill>
              <a:ea typeface="MS PGothic" panose="020B0600070205080204" pitchFamily="34" charset="-128"/>
              <a:cs typeface="Arial"/>
            </a:endParaRPr>
          </a:p>
        </p:txBody>
      </p:sp>
      <p:sp>
        <p:nvSpPr>
          <p:cNvPr id="141" name="TekstSylinder 140"/>
          <p:cNvSpPr txBox="1"/>
          <p:nvPr/>
        </p:nvSpPr>
        <p:spPr>
          <a:xfrm>
            <a:off x="451123" y="2813294"/>
            <a:ext cx="1528589" cy="276999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 w="57150">
            <a:noFill/>
          </a:ln>
        </p:spPr>
        <p:txBody>
          <a:bodyPr wrap="square" rtlCol="0">
            <a:spAutoFit/>
          </a:bodyPr>
          <a:lstStyle>
            <a:defPPr>
              <a:defRPr lang="nb-NO"/>
            </a:defPPr>
            <a:lvl1pPr>
              <a:defRPr sz="1200" b="1">
                <a:solidFill>
                  <a:srgbClr val="303030"/>
                </a:solidFill>
                <a:cs typeface="Arial"/>
              </a:defRPr>
            </a:lvl1pPr>
          </a:lstStyle>
          <a:p>
            <a:r>
              <a:rPr lang="nb-NO" dirty="0">
                <a:ea typeface="MS PGothic" panose="020B0600070205080204" pitchFamily="34" charset="-128"/>
              </a:rPr>
              <a:t>[A</a:t>
            </a:r>
            <a:r>
              <a:rPr lang="nb-NO" dirty="0" smtClean="0">
                <a:ea typeface="MS PGothic" panose="020B0600070205080204" pitchFamily="34" charset="-128"/>
              </a:rPr>
              <a:t>]-</a:t>
            </a:r>
            <a:r>
              <a:rPr lang="nb-NO" b="0" dirty="0" smtClean="0">
                <a:ea typeface="MS PGothic" panose="020B0600070205080204" pitchFamily="34" charset="-128"/>
              </a:rPr>
              <a:t>Vise timeavtaler</a:t>
            </a:r>
            <a:endParaRPr lang="nb-NO" b="0" dirty="0">
              <a:ea typeface="MS PGothic" panose="020B0600070205080204" pitchFamily="34" charset="-128"/>
            </a:endParaRPr>
          </a:p>
        </p:txBody>
      </p:sp>
      <p:sp>
        <p:nvSpPr>
          <p:cNvPr id="37" name="Text Box 18"/>
          <p:cNvSpPr txBox="1">
            <a:spLocks noChangeArrowheads="1"/>
          </p:cNvSpPr>
          <p:nvPr/>
        </p:nvSpPr>
        <p:spPr bwMode="auto">
          <a:xfrm>
            <a:off x="136672" y="2615180"/>
            <a:ext cx="369345" cy="18552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eaVert" wrap="square" lIns="85128" tIns="42565" rIns="85128" bIns="42565">
            <a:spAutoFit/>
          </a:bodyPr>
          <a:lstStyle>
            <a:lvl1pPr>
              <a:defRPr>
                <a:solidFill>
                  <a:schemeClr val="bg1"/>
                </a:solidFill>
                <a:latin typeface="Times"/>
                <a:ea typeface="MS PGothic" pitchFamily="34" charset="-128"/>
              </a:defRPr>
            </a:lvl1pPr>
            <a:lvl2pPr marL="742950" indent="-285750">
              <a:defRPr>
                <a:solidFill>
                  <a:schemeClr val="bg1"/>
                </a:solidFill>
                <a:latin typeface="Times"/>
                <a:ea typeface="MS PGothic" pitchFamily="34" charset="-128"/>
              </a:defRPr>
            </a:lvl2pPr>
            <a:lvl3pPr marL="1143000" indent="-228600">
              <a:defRPr>
                <a:solidFill>
                  <a:schemeClr val="bg1"/>
                </a:solidFill>
                <a:latin typeface="Times"/>
                <a:ea typeface="MS PGothic" pitchFamily="34" charset="-128"/>
              </a:defRPr>
            </a:lvl3pPr>
            <a:lvl4pPr marL="1600200" indent="-228600">
              <a:defRPr>
                <a:solidFill>
                  <a:schemeClr val="bg1"/>
                </a:solidFill>
                <a:latin typeface="Times"/>
                <a:ea typeface="MS PGothic" pitchFamily="34" charset="-128"/>
              </a:defRPr>
            </a:lvl4pPr>
            <a:lvl5pPr marL="2057400" indent="-228600">
              <a:defRPr>
                <a:solidFill>
                  <a:schemeClr val="bg1"/>
                </a:solidFill>
                <a:latin typeface="Times"/>
                <a:ea typeface="MS PGothic" pitchFamily="34" charset="-128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Times"/>
                <a:ea typeface="MS PGothic" pitchFamily="34" charset="-128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Times"/>
                <a:ea typeface="MS PGothic" pitchFamily="34" charset="-128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Times"/>
                <a:ea typeface="MS PGothic" pitchFamily="34" charset="-128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Times"/>
                <a:ea typeface="MS PGothic" pitchFamily="34" charset="-128"/>
              </a:defRPr>
            </a:lvl9pPr>
          </a:lstStyle>
          <a:p>
            <a:pPr defTabSz="851415">
              <a:spcBef>
                <a:spcPct val="50000"/>
              </a:spcBef>
            </a:pPr>
            <a:r>
              <a:rPr lang="nb-NO" sz="1283" dirty="0" err="1" smtClean="0">
                <a:solidFill>
                  <a:prstClr val="black"/>
                </a:solidFill>
                <a:latin typeface="Arial" pitchFamily="34" charset="0"/>
              </a:rPr>
              <a:t>Spesiealisthelsetjensten</a:t>
            </a:r>
            <a:endParaRPr lang="nb-NO" sz="1283" dirty="0">
              <a:solidFill>
                <a:prstClr val="black"/>
              </a:solidFill>
              <a:latin typeface="Arial" pitchFamily="34" charset="0"/>
            </a:endParaRPr>
          </a:p>
        </p:txBody>
      </p:sp>
      <p:grpSp>
        <p:nvGrpSpPr>
          <p:cNvPr id="68" name="Gruppe 67"/>
          <p:cNvGrpSpPr/>
          <p:nvPr/>
        </p:nvGrpSpPr>
        <p:grpSpPr>
          <a:xfrm>
            <a:off x="7168110" y="399783"/>
            <a:ext cx="1900710" cy="708334"/>
            <a:chOff x="240835" y="1697839"/>
            <a:chExt cx="8424387" cy="4345947"/>
          </a:xfrm>
        </p:grpSpPr>
        <p:sp>
          <p:nvSpPr>
            <p:cNvPr id="69" name="Rektangel 68"/>
            <p:cNvSpPr/>
            <p:nvPr/>
          </p:nvSpPr>
          <p:spPr bwMode="auto">
            <a:xfrm>
              <a:off x="5155517" y="2350942"/>
              <a:ext cx="286368" cy="2754676"/>
            </a:xfrm>
            <a:prstGeom prst="rect">
              <a:avLst/>
            </a:prstGeom>
            <a:ln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270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nb-NO" sz="1400" dirty="0">
                <a:solidFill>
                  <a:srgbClr val="FFFFFF"/>
                </a:solidFill>
              </a:endParaRPr>
            </a:p>
          </p:txBody>
        </p:sp>
        <p:sp>
          <p:nvSpPr>
            <p:cNvPr id="70" name="Rektangel 69"/>
            <p:cNvSpPr/>
            <p:nvPr/>
          </p:nvSpPr>
          <p:spPr bwMode="auto">
            <a:xfrm>
              <a:off x="1710348" y="2350942"/>
              <a:ext cx="1224136" cy="2754676"/>
            </a:xfrm>
            <a:prstGeom prst="rect">
              <a:avLst/>
            </a:prstGeom>
            <a:ln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nb-NO" sz="1400" dirty="0">
                <a:solidFill>
                  <a:srgbClr val="FFFFFF"/>
                </a:solidFill>
              </a:endParaRPr>
            </a:p>
          </p:txBody>
        </p:sp>
        <p:sp>
          <p:nvSpPr>
            <p:cNvPr id="77" name="Rektangel 76"/>
            <p:cNvSpPr/>
            <p:nvPr/>
          </p:nvSpPr>
          <p:spPr bwMode="auto">
            <a:xfrm>
              <a:off x="1710349" y="5177626"/>
              <a:ext cx="2016224" cy="864096"/>
            </a:xfrm>
            <a:prstGeom prst="rect">
              <a:avLst/>
            </a:prstGeom>
            <a:solidFill>
              <a:schemeClr val="accent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nb-NO" sz="1400" dirty="0">
                <a:solidFill>
                  <a:srgbClr val="FFFFFF"/>
                </a:solidFill>
                <a:ea typeface="MS PGothic" panose="020B0600070205080204" pitchFamily="34" charset="-128"/>
              </a:endParaRPr>
            </a:p>
          </p:txBody>
        </p:sp>
        <p:sp>
          <p:nvSpPr>
            <p:cNvPr id="78" name="Rektangel 77"/>
            <p:cNvSpPr/>
            <p:nvPr/>
          </p:nvSpPr>
          <p:spPr bwMode="auto">
            <a:xfrm>
              <a:off x="3006492" y="3116679"/>
              <a:ext cx="2088232" cy="837952"/>
            </a:xfrm>
            <a:prstGeom prst="rect">
              <a:avLst/>
            </a:prstGeom>
            <a:solidFill>
              <a:schemeClr val="accent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nb-NO" sz="1400" dirty="0">
                <a:solidFill>
                  <a:srgbClr val="FFFFFF"/>
                </a:solidFill>
                <a:ea typeface="MS PGothic" panose="020B0600070205080204" pitchFamily="34" charset="-128"/>
              </a:endParaRPr>
            </a:p>
          </p:txBody>
        </p:sp>
        <p:sp>
          <p:nvSpPr>
            <p:cNvPr id="79" name="Rektangel 78"/>
            <p:cNvSpPr/>
            <p:nvPr/>
          </p:nvSpPr>
          <p:spPr bwMode="auto">
            <a:xfrm>
              <a:off x="3006492" y="2353180"/>
              <a:ext cx="2088232" cy="704085"/>
            </a:xfrm>
            <a:prstGeom prst="rect">
              <a:avLst/>
            </a:prstGeom>
            <a:solidFill>
              <a:schemeClr val="accent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nb-NO" sz="1400" dirty="0">
                <a:solidFill>
                  <a:srgbClr val="FFFFFF"/>
                </a:solidFill>
                <a:ea typeface="MS PGothic" panose="020B0600070205080204" pitchFamily="34" charset="-128"/>
              </a:endParaRPr>
            </a:p>
          </p:txBody>
        </p:sp>
        <p:sp>
          <p:nvSpPr>
            <p:cNvPr id="80" name="Rektangel 79"/>
            <p:cNvSpPr/>
            <p:nvPr/>
          </p:nvSpPr>
          <p:spPr bwMode="auto">
            <a:xfrm>
              <a:off x="3006492" y="4014047"/>
              <a:ext cx="2088232" cy="705524"/>
            </a:xfrm>
            <a:prstGeom prst="rect">
              <a:avLst/>
            </a:prstGeom>
            <a:solidFill>
              <a:schemeClr val="accent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nb-NO" sz="1400" dirty="0">
                <a:solidFill>
                  <a:srgbClr val="FFFFFF"/>
                </a:solidFill>
                <a:ea typeface="MS PGothic" panose="020B0600070205080204" pitchFamily="34" charset="-128"/>
              </a:endParaRPr>
            </a:p>
          </p:txBody>
        </p:sp>
        <p:sp>
          <p:nvSpPr>
            <p:cNvPr id="81" name="Rektangel 80"/>
            <p:cNvSpPr/>
            <p:nvPr/>
          </p:nvSpPr>
          <p:spPr bwMode="auto">
            <a:xfrm>
              <a:off x="5483051" y="2253685"/>
              <a:ext cx="90010" cy="3790101"/>
            </a:xfrm>
            <a:prstGeom prst="rect">
              <a:avLst/>
            </a:prstGeom>
            <a:solidFill>
              <a:srgbClr val="1E001B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nb-NO" sz="1400" dirty="0">
                <a:solidFill>
                  <a:srgbClr val="FFFFFF"/>
                </a:solidFill>
                <a:ea typeface="MS PGothic" panose="020B0600070205080204" pitchFamily="34" charset="-128"/>
              </a:endParaRPr>
            </a:p>
          </p:txBody>
        </p:sp>
        <p:sp>
          <p:nvSpPr>
            <p:cNvPr id="82" name="Rektangel 81"/>
            <p:cNvSpPr/>
            <p:nvPr/>
          </p:nvSpPr>
          <p:spPr bwMode="auto">
            <a:xfrm>
              <a:off x="5483051" y="5177626"/>
              <a:ext cx="90010" cy="858150"/>
            </a:xfrm>
            <a:prstGeom prst="rect">
              <a:avLst/>
            </a:prstGeom>
            <a:solidFill>
              <a:srgbClr val="2A0026"/>
            </a:solidFill>
            <a:ln w="9525" cap="flat" cmpd="sng" algn="ctr">
              <a:solidFill>
                <a:schemeClr val="accent4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nb-NO" sz="1400" dirty="0">
                <a:solidFill>
                  <a:srgbClr val="FFFFFF"/>
                </a:solidFill>
                <a:ea typeface="MS PGothic" panose="020B0600070205080204" pitchFamily="34" charset="-128"/>
              </a:endParaRPr>
            </a:p>
          </p:txBody>
        </p:sp>
        <p:sp>
          <p:nvSpPr>
            <p:cNvPr id="83" name="Rektangel 82"/>
            <p:cNvSpPr/>
            <p:nvPr/>
          </p:nvSpPr>
          <p:spPr bwMode="auto">
            <a:xfrm>
              <a:off x="1548330" y="1920771"/>
              <a:ext cx="90010" cy="4120953"/>
            </a:xfrm>
            <a:prstGeom prst="rect">
              <a:avLst/>
            </a:prstGeom>
            <a:solidFill>
              <a:srgbClr val="1E001B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nb-NO" sz="1400" dirty="0">
                <a:solidFill>
                  <a:srgbClr val="FFFFFF"/>
                </a:solidFill>
                <a:ea typeface="MS PGothic" panose="020B0600070205080204" pitchFamily="34" charset="-128"/>
              </a:endParaRPr>
            </a:p>
          </p:txBody>
        </p:sp>
        <p:sp>
          <p:nvSpPr>
            <p:cNvPr id="84" name="Rektangel 83"/>
            <p:cNvSpPr/>
            <p:nvPr/>
          </p:nvSpPr>
          <p:spPr bwMode="auto">
            <a:xfrm>
              <a:off x="3006492" y="4778987"/>
              <a:ext cx="2088232" cy="331914"/>
            </a:xfrm>
            <a:prstGeom prst="rect">
              <a:avLst/>
            </a:prstGeom>
            <a:solidFill>
              <a:schemeClr val="accent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nb-NO" sz="1400" dirty="0">
                <a:solidFill>
                  <a:srgbClr val="FFFFFF"/>
                </a:solidFill>
                <a:ea typeface="MS PGothic" panose="020B0600070205080204" pitchFamily="34" charset="-128"/>
              </a:endParaRPr>
            </a:p>
          </p:txBody>
        </p:sp>
        <p:sp>
          <p:nvSpPr>
            <p:cNvPr id="85" name="Rektangel 84"/>
            <p:cNvSpPr/>
            <p:nvPr/>
          </p:nvSpPr>
          <p:spPr bwMode="auto">
            <a:xfrm rot="17281825">
              <a:off x="4370122" y="423172"/>
              <a:ext cx="87489" cy="2989387"/>
            </a:xfrm>
            <a:prstGeom prst="rect">
              <a:avLst/>
            </a:prstGeom>
            <a:solidFill>
              <a:srgbClr val="1E001B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eaLnBrk="0" hangingPunct="0"/>
              <a:endParaRPr lang="nb-NO" sz="1400" dirty="0">
                <a:solidFill>
                  <a:srgbClr val="FFFFFF"/>
                </a:solidFill>
                <a:ea typeface="MS PGothic" panose="020B0600070205080204" pitchFamily="34" charset="-128"/>
              </a:endParaRPr>
            </a:p>
          </p:txBody>
        </p:sp>
        <p:sp>
          <p:nvSpPr>
            <p:cNvPr id="86" name="Rektangel 85"/>
            <p:cNvSpPr/>
            <p:nvPr/>
          </p:nvSpPr>
          <p:spPr bwMode="auto">
            <a:xfrm rot="4318175" flipV="1">
              <a:off x="2086610" y="805034"/>
              <a:ext cx="101249" cy="1886860"/>
            </a:xfrm>
            <a:prstGeom prst="rect">
              <a:avLst/>
            </a:prstGeom>
            <a:solidFill>
              <a:srgbClr val="1E001B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eaLnBrk="0" hangingPunct="0"/>
              <a:endParaRPr lang="nb-NO" sz="1400" dirty="0">
                <a:solidFill>
                  <a:srgbClr val="FFFFFF"/>
                </a:solidFill>
                <a:ea typeface="MS PGothic" panose="020B0600070205080204" pitchFamily="34" charset="-128"/>
              </a:endParaRPr>
            </a:p>
          </p:txBody>
        </p:sp>
        <p:grpSp>
          <p:nvGrpSpPr>
            <p:cNvPr id="87" name="Gruppe 86"/>
            <p:cNvGrpSpPr/>
            <p:nvPr/>
          </p:nvGrpSpPr>
          <p:grpSpPr>
            <a:xfrm>
              <a:off x="240835" y="4970598"/>
              <a:ext cx="1172389" cy="1060872"/>
              <a:chOff x="1442737" y="5029200"/>
              <a:chExt cx="1473675" cy="1333500"/>
            </a:xfrm>
          </p:grpSpPr>
          <p:pic>
            <p:nvPicPr>
              <p:cNvPr id="129" name="Picture 4"/>
              <p:cNvPicPr>
                <a:picLocks noChangeAspect="1"/>
              </p:cNvPicPr>
              <p:nvPr/>
            </p:nvPicPr>
            <p:blipFill rotWithShape="1">
              <a:blip r:embed="rId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-168" r="65037" b="42236"/>
              <a:stretch/>
            </p:blipFill>
            <p:spPr>
              <a:xfrm>
                <a:off x="1442737" y="5029200"/>
                <a:ext cx="998170" cy="1333500"/>
              </a:xfrm>
              <a:prstGeom prst="rect">
                <a:avLst/>
              </a:prstGeom>
              <a:effectLst/>
            </p:spPr>
          </p:pic>
          <p:sp>
            <p:nvSpPr>
              <p:cNvPr id="130" name="Freeform 10"/>
              <p:cNvSpPr>
                <a:spLocks noEditPoints="1"/>
              </p:cNvSpPr>
              <p:nvPr/>
            </p:nvSpPr>
            <p:spPr bwMode="auto">
              <a:xfrm>
                <a:off x="2229761" y="5191743"/>
                <a:ext cx="686651" cy="1164802"/>
              </a:xfrm>
              <a:custGeom>
                <a:avLst/>
                <a:gdLst>
                  <a:gd name="T0" fmla="*/ 1342 w 1999"/>
                  <a:gd name="T1" fmla="*/ 428 h 3599"/>
                  <a:gd name="T2" fmla="*/ 1322 w 1999"/>
                  <a:gd name="T3" fmla="*/ 352 h 3599"/>
                  <a:gd name="T4" fmla="*/ 1297 w 1999"/>
                  <a:gd name="T5" fmla="*/ 239 h 3599"/>
                  <a:gd name="T6" fmla="*/ 1294 w 1999"/>
                  <a:gd name="T7" fmla="*/ 131 h 3599"/>
                  <a:gd name="T8" fmla="*/ 1377 w 1999"/>
                  <a:gd name="T9" fmla="*/ 40 h 3599"/>
                  <a:gd name="T10" fmla="*/ 1546 w 1999"/>
                  <a:gd name="T11" fmla="*/ 5 h 3599"/>
                  <a:gd name="T12" fmla="*/ 1593 w 1999"/>
                  <a:gd name="T13" fmla="*/ 82 h 3599"/>
                  <a:gd name="T14" fmla="*/ 1637 w 1999"/>
                  <a:gd name="T15" fmla="*/ 169 h 3599"/>
                  <a:gd name="T16" fmla="*/ 1651 w 1999"/>
                  <a:gd name="T17" fmla="*/ 268 h 3599"/>
                  <a:gd name="T18" fmla="*/ 1625 w 1999"/>
                  <a:gd name="T19" fmla="*/ 470 h 3599"/>
                  <a:gd name="T20" fmla="*/ 1616 w 1999"/>
                  <a:gd name="T21" fmla="*/ 554 h 3599"/>
                  <a:gd name="T22" fmla="*/ 1665 w 1999"/>
                  <a:gd name="T23" fmla="*/ 589 h 3599"/>
                  <a:gd name="T24" fmla="*/ 1750 w 1999"/>
                  <a:gd name="T25" fmla="*/ 636 h 3599"/>
                  <a:gd name="T26" fmla="*/ 1853 w 1999"/>
                  <a:gd name="T27" fmla="*/ 763 h 3599"/>
                  <a:gd name="T28" fmla="*/ 1945 w 1999"/>
                  <a:gd name="T29" fmla="*/ 1083 h 3599"/>
                  <a:gd name="T30" fmla="*/ 1999 w 1999"/>
                  <a:gd name="T31" fmla="*/ 1247 h 3599"/>
                  <a:gd name="T32" fmla="*/ 1889 w 1999"/>
                  <a:gd name="T33" fmla="*/ 1348 h 3599"/>
                  <a:gd name="T34" fmla="*/ 1809 w 1999"/>
                  <a:gd name="T35" fmla="*/ 1318 h 3599"/>
                  <a:gd name="T36" fmla="*/ 1773 w 1999"/>
                  <a:gd name="T37" fmla="*/ 1388 h 3599"/>
                  <a:gd name="T38" fmla="*/ 1785 w 1999"/>
                  <a:gd name="T39" fmla="*/ 1511 h 3599"/>
                  <a:gd name="T40" fmla="*/ 1827 w 1999"/>
                  <a:gd name="T41" fmla="*/ 1708 h 3599"/>
                  <a:gd name="T42" fmla="*/ 1783 w 1999"/>
                  <a:gd name="T43" fmla="*/ 2058 h 3599"/>
                  <a:gd name="T44" fmla="*/ 1692 w 1999"/>
                  <a:gd name="T45" fmla="*/ 3031 h 3599"/>
                  <a:gd name="T46" fmla="*/ 1691 w 1999"/>
                  <a:gd name="T47" fmla="*/ 3223 h 3599"/>
                  <a:gd name="T48" fmla="*/ 1780 w 1999"/>
                  <a:gd name="T49" fmla="*/ 3343 h 3599"/>
                  <a:gd name="T50" fmla="*/ 1719 w 1999"/>
                  <a:gd name="T51" fmla="*/ 3395 h 3599"/>
                  <a:gd name="T52" fmla="*/ 1541 w 1999"/>
                  <a:gd name="T53" fmla="*/ 3406 h 3599"/>
                  <a:gd name="T54" fmla="*/ 1553 w 1999"/>
                  <a:gd name="T55" fmla="*/ 3515 h 3599"/>
                  <a:gd name="T56" fmla="*/ 1437 w 1999"/>
                  <a:gd name="T57" fmla="*/ 3590 h 3599"/>
                  <a:gd name="T58" fmla="*/ 1329 w 1999"/>
                  <a:gd name="T59" fmla="*/ 3568 h 3599"/>
                  <a:gd name="T60" fmla="*/ 1229 w 1999"/>
                  <a:gd name="T61" fmla="*/ 3303 h 3599"/>
                  <a:gd name="T62" fmla="*/ 1198 w 1999"/>
                  <a:gd name="T63" fmla="*/ 2840 h 3599"/>
                  <a:gd name="T64" fmla="*/ 1184 w 1999"/>
                  <a:gd name="T65" fmla="*/ 2465 h 3599"/>
                  <a:gd name="T66" fmla="*/ 1156 w 1999"/>
                  <a:gd name="T67" fmla="*/ 2133 h 3599"/>
                  <a:gd name="T68" fmla="*/ 1141 w 1999"/>
                  <a:gd name="T69" fmla="*/ 1936 h 3599"/>
                  <a:gd name="T70" fmla="*/ 1146 w 1999"/>
                  <a:gd name="T71" fmla="*/ 1726 h 3599"/>
                  <a:gd name="T72" fmla="*/ 1170 w 1999"/>
                  <a:gd name="T73" fmla="*/ 1564 h 3599"/>
                  <a:gd name="T74" fmla="*/ 1092 w 1999"/>
                  <a:gd name="T75" fmla="*/ 1530 h 3599"/>
                  <a:gd name="T76" fmla="*/ 1078 w 1999"/>
                  <a:gd name="T77" fmla="*/ 1581 h 3599"/>
                  <a:gd name="T78" fmla="*/ 1059 w 1999"/>
                  <a:gd name="T79" fmla="*/ 1668 h 3599"/>
                  <a:gd name="T80" fmla="*/ 1094 w 1999"/>
                  <a:gd name="T81" fmla="*/ 1938 h 3599"/>
                  <a:gd name="T82" fmla="*/ 1080 w 1999"/>
                  <a:gd name="T83" fmla="*/ 2004 h 3599"/>
                  <a:gd name="T84" fmla="*/ 1017 w 1999"/>
                  <a:gd name="T85" fmla="*/ 2009 h 3599"/>
                  <a:gd name="T86" fmla="*/ 935 w 1999"/>
                  <a:gd name="T87" fmla="*/ 1886 h 3599"/>
                  <a:gd name="T88" fmla="*/ 925 w 1999"/>
                  <a:gd name="T89" fmla="*/ 1797 h 3599"/>
                  <a:gd name="T90" fmla="*/ 923 w 1999"/>
                  <a:gd name="T91" fmla="*/ 1630 h 3599"/>
                  <a:gd name="T92" fmla="*/ 886 w 1999"/>
                  <a:gd name="T93" fmla="*/ 1490 h 3599"/>
                  <a:gd name="T94" fmla="*/ 925 w 1999"/>
                  <a:gd name="T95" fmla="*/ 1381 h 3599"/>
                  <a:gd name="T96" fmla="*/ 944 w 1999"/>
                  <a:gd name="T97" fmla="*/ 1217 h 3599"/>
                  <a:gd name="T98" fmla="*/ 975 w 1999"/>
                  <a:gd name="T99" fmla="*/ 1029 h 3599"/>
                  <a:gd name="T100" fmla="*/ 1113 w 1999"/>
                  <a:gd name="T101" fmla="*/ 644 h 3599"/>
                  <a:gd name="T102" fmla="*/ 1261 w 1999"/>
                  <a:gd name="T103" fmla="*/ 564 h 3599"/>
                  <a:gd name="T104" fmla="*/ 1360 w 1999"/>
                  <a:gd name="T105" fmla="*/ 461 h 3599"/>
                  <a:gd name="T106" fmla="*/ 1010 w 1999"/>
                  <a:gd name="T107" fmla="*/ 1936 h 3599"/>
                  <a:gd name="T108" fmla="*/ 1464 w 1999"/>
                  <a:gd name="T109" fmla="*/ 2086 h 3599"/>
                  <a:gd name="T110" fmla="*/ 1445 w 1999"/>
                  <a:gd name="T111" fmla="*/ 2328 h 3599"/>
                  <a:gd name="T112" fmla="*/ 1416 w 1999"/>
                  <a:gd name="T113" fmla="*/ 2528 h 3599"/>
                  <a:gd name="T114" fmla="*/ 1412 w 1999"/>
                  <a:gd name="T115" fmla="*/ 2643 h 3599"/>
                  <a:gd name="T116" fmla="*/ 1480 w 1999"/>
                  <a:gd name="T117" fmla="*/ 2854 h 3599"/>
                  <a:gd name="T118" fmla="*/ 1497 w 1999"/>
                  <a:gd name="T119" fmla="*/ 2610 h 3599"/>
                  <a:gd name="T120" fmla="*/ 1496 w 1999"/>
                  <a:gd name="T121" fmla="*/ 2511 h 3599"/>
                  <a:gd name="T122" fmla="*/ 1478 w 1999"/>
                  <a:gd name="T123" fmla="*/ 2368 h 3599"/>
                  <a:gd name="T124" fmla="*/ 1477 w 1999"/>
                  <a:gd name="T125" fmla="*/ 2176 h 3599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60000 65536"/>
                  <a:gd name="T187" fmla="*/ 0 60000 65536"/>
                  <a:gd name="T188" fmla="*/ 0 60000 65536"/>
                  <a:gd name="T189" fmla="*/ 0 w 1999"/>
                  <a:gd name="T190" fmla="*/ 0 h 3599"/>
                  <a:gd name="T191" fmla="*/ 1999 w 1999"/>
                  <a:gd name="T192" fmla="*/ 3599 h 3599"/>
                </a:gdLst>
                <a:ahLst/>
                <a:cxnLst>
                  <a:cxn ang="T126">
                    <a:pos x="T0" y="T1"/>
                  </a:cxn>
                  <a:cxn ang="T127">
                    <a:pos x="T2" y="T3"/>
                  </a:cxn>
                  <a:cxn ang="T128">
                    <a:pos x="T4" y="T5"/>
                  </a:cxn>
                  <a:cxn ang="T129">
                    <a:pos x="T6" y="T7"/>
                  </a:cxn>
                  <a:cxn ang="T130">
                    <a:pos x="T8" y="T9"/>
                  </a:cxn>
                  <a:cxn ang="T131">
                    <a:pos x="T10" y="T11"/>
                  </a:cxn>
                  <a:cxn ang="T132">
                    <a:pos x="T12" y="T13"/>
                  </a:cxn>
                  <a:cxn ang="T133">
                    <a:pos x="T14" y="T15"/>
                  </a:cxn>
                  <a:cxn ang="T134">
                    <a:pos x="T16" y="T17"/>
                  </a:cxn>
                  <a:cxn ang="T135">
                    <a:pos x="T18" y="T19"/>
                  </a:cxn>
                  <a:cxn ang="T136">
                    <a:pos x="T20" y="T21"/>
                  </a:cxn>
                  <a:cxn ang="T137">
                    <a:pos x="T22" y="T23"/>
                  </a:cxn>
                  <a:cxn ang="T138">
                    <a:pos x="T24" y="T25"/>
                  </a:cxn>
                  <a:cxn ang="T139">
                    <a:pos x="T26" y="T27"/>
                  </a:cxn>
                  <a:cxn ang="T140">
                    <a:pos x="T28" y="T29"/>
                  </a:cxn>
                  <a:cxn ang="T141">
                    <a:pos x="T30" y="T31"/>
                  </a:cxn>
                  <a:cxn ang="T142">
                    <a:pos x="T32" y="T33"/>
                  </a:cxn>
                  <a:cxn ang="T143">
                    <a:pos x="T34" y="T35"/>
                  </a:cxn>
                  <a:cxn ang="T144">
                    <a:pos x="T36" y="T37"/>
                  </a:cxn>
                  <a:cxn ang="T145">
                    <a:pos x="T38" y="T39"/>
                  </a:cxn>
                  <a:cxn ang="T146">
                    <a:pos x="T40" y="T41"/>
                  </a:cxn>
                  <a:cxn ang="T147">
                    <a:pos x="T42" y="T43"/>
                  </a:cxn>
                  <a:cxn ang="T148">
                    <a:pos x="T44" y="T45"/>
                  </a:cxn>
                  <a:cxn ang="T149">
                    <a:pos x="T46" y="T47"/>
                  </a:cxn>
                  <a:cxn ang="T150">
                    <a:pos x="T48" y="T49"/>
                  </a:cxn>
                  <a:cxn ang="T151">
                    <a:pos x="T50" y="T51"/>
                  </a:cxn>
                  <a:cxn ang="T152">
                    <a:pos x="T52" y="T53"/>
                  </a:cxn>
                  <a:cxn ang="T153">
                    <a:pos x="T54" y="T55"/>
                  </a:cxn>
                  <a:cxn ang="T154">
                    <a:pos x="T56" y="T57"/>
                  </a:cxn>
                  <a:cxn ang="T155">
                    <a:pos x="T58" y="T59"/>
                  </a:cxn>
                  <a:cxn ang="T156">
                    <a:pos x="T60" y="T61"/>
                  </a:cxn>
                  <a:cxn ang="T157">
                    <a:pos x="T62" y="T63"/>
                  </a:cxn>
                  <a:cxn ang="T158">
                    <a:pos x="T64" y="T65"/>
                  </a:cxn>
                  <a:cxn ang="T159">
                    <a:pos x="T66" y="T67"/>
                  </a:cxn>
                  <a:cxn ang="T160">
                    <a:pos x="T68" y="T69"/>
                  </a:cxn>
                  <a:cxn ang="T161">
                    <a:pos x="T70" y="T71"/>
                  </a:cxn>
                  <a:cxn ang="T162">
                    <a:pos x="T72" y="T73"/>
                  </a:cxn>
                  <a:cxn ang="T163">
                    <a:pos x="T74" y="T75"/>
                  </a:cxn>
                  <a:cxn ang="T164">
                    <a:pos x="T76" y="T77"/>
                  </a:cxn>
                  <a:cxn ang="T165">
                    <a:pos x="T78" y="T79"/>
                  </a:cxn>
                  <a:cxn ang="T166">
                    <a:pos x="T80" y="T81"/>
                  </a:cxn>
                  <a:cxn ang="T167">
                    <a:pos x="T82" y="T83"/>
                  </a:cxn>
                  <a:cxn ang="T168">
                    <a:pos x="T84" y="T85"/>
                  </a:cxn>
                  <a:cxn ang="T169">
                    <a:pos x="T86" y="T87"/>
                  </a:cxn>
                  <a:cxn ang="T170">
                    <a:pos x="T88" y="T89"/>
                  </a:cxn>
                  <a:cxn ang="T171">
                    <a:pos x="T90" y="T91"/>
                  </a:cxn>
                  <a:cxn ang="T172">
                    <a:pos x="T92" y="T93"/>
                  </a:cxn>
                  <a:cxn ang="T173">
                    <a:pos x="T94" y="T95"/>
                  </a:cxn>
                  <a:cxn ang="T174">
                    <a:pos x="T96" y="T97"/>
                  </a:cxn>
                  <a:cxn ang="T175">
                    <a:pos x="T98" y="T99"/>
                  </a:cxn>
                  <a:cxn ang="T176">
                    <a:pos x="T100" y="T101"/>
                  </a:cxn>
                  <a:cxn ang="T177">
                    <a:pos x="T102" y="T103"/>
                  </a:cxn>
                  <a:cxn ang="T178">
                    <a:pos x="T104" y="T105"/>
                  </a:cxn>
                  <a:cxn ang="T179">
                    <a:pos x="T106" y="T107"/>
                  </a:cxn>
                  <a:cxn ang="T180">
                    <a:pos x="T108" y="T109"/>
                  </a:cxn>
                  <a:cxn ang="T181">
                    <a:pos x="T110" y="T111"/>
                  </a:cxn>
                  <a:cxn ang="T182">
                    <a:pos x="T112" y="T113"/>
                  </a:cxn>
                  <a:cxn ang="T183">
                    <a:pos x="T114" y="T115"/>
                  </a:cxn>
                  <a:cxn ang="T184">
                    <a:pos x="T116" y="T117"/>
                  </a:cxn>
                  <a:cxn ang="T185">
                    <a:pos x="T118" y="T119"/>
                  </a:cxn>
                  <a:cxn ang="T186">
                    <a:pos x="T120" y="T121"/>
                  </a:cxn>
                  <a:cxn ang="T187">
                    <a:pos x="T122" y="T123"/>
                  </a:cxn>
                  <a:cxn ang="T188">
                    <a:pos x="T124" y="T125"/>
                  </a:cxn>
                </a:cxnLst>
                <a:rect l="T189" t="T190" r="T191" b="T192"/>
                <a:pathLst>
                  <a:path w="1999" h="3599">
                    <a:moveTo>
                      <a:pt x="1360" y="461"/>
                    </a:moveTo>
                    <a:lnTo>
                      <a:pt x="1360" y="461"/>
                    </a:lnTo>
                    <a:lnTo>
                      <a:pt x="1360" y="447"/>
                    </a:lnTo>
                    <a:lnTo>
                      <a:pt x="1358" y="444"/>
                    </a:lnTo>
                    <a:lnTo>
                      <a:pt x="1356" y="444"/>
                    </a:lnTo>
                    <a:lnTo>
                      <a:pt x="1349" y="444"/>
                    </a:lnTo>
                    <a:lnTo>
                      <a:pt x="1348" y="442"/>
                    </a:lnTo>
                    <a:lnTo>
                      <a:pt x="1348" y="441"/>
                    </a:lnTo>
                    <a:lnTo>
                      <a:pt x="1348" y="437"/>
                    </a:lnTo>
                    <a:lnTo>
                      <a:pt x="1348" y="435"/>
                    </a:lnTo>
                    <a:lnTo>
                      <a:pt x="1342" y="428"/>
                    </a:lnTo>
                    <a:lnTo>
                      <a:pt x="1339" y="423"/>
                    </a:lnTo>
                    <a:lnTo>
                      <a:pt x="1336" y="418"/>
                    </a:lnTo>
                    <a:lnTo>
                      <a:pt x="1336" y="413"/>
                    </a:lnTo>
                    <a:lnTo>
                      <a:pt x="1332" y="399"/>
                    </a:lnTo>
                    <a:lnTo>
                      <a:pt x="1330" y="387"/>
                    </a:lnTo>
                    <a:lnTo>
                      <a:pt x="1329" y="371"/>
                    </a:lnTo>
                    <a:lnTo>
                      <a:pt x="1330" y="366"/>
                    </a:lnTo>
                    <a:lnTo>
                      <a:pt x="1329" y="359"/>
                    </a:lnTo>
                    <a:lnTo>
                      <a:pt x="1325" y="355"/>
                    </a:lnTo>
                    <a:lnTo>
                      <a:pt x="1322" y="352"/>
                    </a:lnTo>
                    <a:lnTo>
                      <a:pt x="1313" y="341"/>
                    </a:lnTo>
                    <a:lnTo>
                      <a:pt x="1308" y="329"/>
                    </a:lnTo>
                    <a:lnTo>
                      <a:pt x="1304" y="315"/>
                    </a:lnTo>
                    <a:lnTo>
                      <a:pt x="1301" y="301"/>
                    </a:lnTo>
                    <a:lnTo>
                      <a:pt x="1301" y="272"/>
                    </a:lnTo>
                    <a:lnTo>
                      <a:pt x="1301" y="275"/>
                    </a:lnTo>
                    <a:lnTo>
                      <a:pt x="1301" y="249"/>
                    </a:lnTo>
                    <a:lnTo>
                      <a:pt x="1299" y="244"/>
                    </a:lnTo>
                    <a:lnTo>
                      <a:pt x="1297" y="239"/>
                    </a:lnTo>
                    <a:lnTo>
                      <a:pt x="1292" y="228"/>
                    </a:lnTo>
                    <a:lnTo>
                      <a:pt x="1289" y="218"/>
                    </a:lnTo>
                    <a:lnTo>
                      <a:pt x="1287" y="212"/>
                    </a:lnTo>
                    <a:lnTo>
                      <a:pt x="1285" y="207"/>
                    </a:lnTo>
                    <a:lnTo>
                      <a:pt x="1285" y="185"/>
                    </a:lnTo>
                    <a:lnTo>
                      <a:pt x="1285" y="151"/>
                    </a:lnTo>
                    <a:lnTo>
                      <a:pt x="1287" y="146"/>
                    </a:lnTo>
                    <a:lnTo>
                      <a:pt x="1289" y="141"/>
                    </a:lnTo>
                    <a:lnTo>
                      <a:pt x="1294" y="131"/>
                    </a:lnTo>
                    <a:lnTo>
                      <a:pt x="1299" y="120"/>
                    </a:lnTo>
                    <a:lnTo>
                      <a:pt x="1306" y="110"/>
                    </a:lnTo>
                    <a:lnTo>
                      <a:pt x="1311" y="99"/>
                    </a:lnTo>
                    <a:lnTo>
                      <a:pt x="1316" y="89"/>
                    </a:lnTo>
                    <a:lnTo>
                      <a:pt x="1322" y="78"/>
                    </a:lnTo>
                    <a:lnTo>
                      <a:pt x="1330" y="70"/>
                    </a:lnTo>
                    <a:lnTo>
                      <a:pt x="1339" y="63"/>
                    </a:lnTo>
                    <a:lnTo>
                      <a:pt x="1349" y="57"/>
                    </a:lnTo>
                    <a:lnTo>
                      <a:pt x="1358" y="54"/>
                    </a:lnTo>
                    <a:lnTo>
                      <a:pt x="1369" y="47"/>
                    </a:lnTo>
                    <a:lnTo>
                      <a:pt x="1377" y="40"/>
                    </a:lnTo>
                    <a:lnTo>
                      <a:pt x="1388" y="33"/>
                    </a:lnTo>
                    <a:lnTo>
                      <a:pt x="1407" y="23"/>
                    </a:lnTo>
                    <a:lnTo>
                      <a:pt x="1426" y="12"/>
                    </a:lnTo>
                    <a:lnTo>
                      <a:pt x="1447" y="5"/>
                    </a:lnTo>
                    <a:lnTo>
                      <a:pt x="1457" y="3"/>
                    </a:lnTo>
                    <a:lnTo>
                      <a:pt x="1468" y="2"/>
                    </a:lnTo>
                    <a:lnTo>
                      <a:pt x="1517" y="0"/>
                    </a:lnTo>
                    <a:lnTo>
                      <a:pt x="1527" y="2"/>
                    </a:lnTo>
                    <a:lnTo>
                      <a:pt x="1539" y="3"/>
                    </a:lnTo>
                    <a:lnTo>
                      <a:pt x="1546" y="5"/>
                    </a:lnTo>
                    <a:lnTo>
                      <a:pt x="1555" y="7"/>
                    </a:lnTo>
                    <a:lnTo>
                      <a:pt x="1569" y="12"/>
                    </a:lnTo>
                    <a:lnTo>
                      <a:pt x="1574" y="14"/>
                    </a:lnTo>
                    <a:lnTo>
                      <a:pt x="1578" y="16"/>
                    </a:lnTo>
                    <a:lnTo>
                      <a:pt x="1583" y="24"/>
                    </a:lnTo>
                    <a:lnTo>
                      <a:pt x="1588" y="33"/>
                    </a:lnTo>
                    <a:lnTo>
                      <a:pt x="1595" y="44"/>
                    </a:lnTo>
                    <a:lnTo>
                      <a:pt x="1600" y="54"/>
                    </a:lnTo>
                    <a:lnTo>
                      <a:pt x="1602" y="64"/>
                    </a:lnTo>
                    <a:lnTo>
                      <a:pt x="1600" y="68"/>
                    </a:lnTo>
                    <a:lnTo>
                      <a:pt x="1598" y="73"/>
                    </a:lnTo>
                    <a:lnTo>
                      <a:pt x="1593" y="82"/>
                    </a:lnTo>
                    <a:lnTo>
                      <a:pt x="1586" y="87"/>
                    </a:lnTo>
                    <a:lnTo>
                      <a:pt x="1585" y="87"/>
                    </a:lnTo>
                    <a:lnTo>
                      <a:pt x="1586" y="89"/>
                    </a:lnTo>
                    <a:lnTo>
                      <a:pt x="1595" y="96"/>
                    </a:lnTo>
                    <a:lnTo>
                      <a:pt x="1605" y="106"/>
                    </a:lnTo>
                    <a:lnTo>
                      <a:pt x="1619" y="125"/>
                    </a:lnTo>
                    <a:lnTo>
                      <a:pt x="1626" y="136"/>
                    </a:lnTo>
                    <a:lnTo>
                      <a:pt x="1632" y="146"/>
                    </a:lnTo>
                    <a:lnTo>
                      <a:pt x="1635" y="157"/>
                    </a:lnTo>
                    <a:lnTo>
                      <a:pt x="1637" y="169"/>
                    </a:lnTo>
                    <a:lnTo>
                      <a:pt x="1640" y="192"/>
                    </a:lnTo>
                    <a:lnTo>
                      <a:pt x="1644" y="202"/>
                    </a:lnTo>
                    <a:lnTo>
                      <a:pt x="1647" y="212"/>
                    </a:lnTo>
                    <a:lnTo>
                      <a:pt x="1652" y="223"/>
                    </a:lnTo>
                    <a:lnTo>
                      <a:pt x="1652" y="233"/>
                    </a:lnTo>
                    <a:lnTo>
                      <a:pt x="1652" y="242"/>
                    </a:lnTo>
                    <a:lnTo>
                      <a:pt x="1649" y="251"/>
                    </a:lnTo>
                    <a:lnTo>
                      <a:pt x="1647" y="256"/>
                    </a:lnTo>
                    <a:lnTo>
                      <a:pt x="1649" y="259"/>
                    </a:lnTo>
                    <a:lnTo>
                      <a:pt x="1651" y="268"/>
                    </a:lnTo>
                    <a:lnTo>
                      <a:pt x="1654" y="286"/>
                    </a:lnTo>
                    <a:lnTo>
                      <a:pt x="1656" y="303"/>
                    </a:lnTo>
                    <a:lnTo>
                      <a:pt x="1659" y="322"/>
                    </a:lnTo>
                    <a:lnTo>
                      <a:pt x="1659" y="333"/>
                    </a:lnTo>
                    <a:lnTo>
                      <a:pt x="1659" y="341"/>
                    </a:lnTo>
                    <a:lnTo>
                      <a:pt x="1656" y="359"/>
                    </a:lnTo>
                    <a:lnTo>
                      <a:pt x="1652" y="374"/>
                    </a:lnTo>
                    <a:lnTo>
                      <a:pt x="1632" y="453"/>
                    </a:lnTo>
                    <a:lnTo>
                      <a:pt x="1628" y="461"/>
                    </a:lnTo>
                    <a:lnTo>
                      <a:pt x="1625" y="470"/>
                    </a:lnTo>
                    <a:lnTo>
                      <a:pt x="1619" y="477"/>
                    </a:lnTo>
                    <a:lnTo>
                      <a:pt x="1614" y="484"/>
                    </a:lnTo>
                    <a:lnTo>
                      <a:pt x="1609" y="489"/>
                    </a:lnTo>
                    <a:lnTo>
                      <a:pt x="1600" y="493"/>
                    </a:lnTo>
                    <a:lnTo>
                      <a:pt x="1593" y="496"/>
                    </a:lnTo>
                    <a:lnTo>
                      <a:pt x="1585" y="496"/>
                    </a:lnTo>
                    <a:lnTo>
                      <a:pt x="1590" y="507"/>
                    </a:lnTo>
                    <a:lnTo>
                      <a:pt x="1598" y="517"/>
                    </a:lnTo>
                    <a:lnTo>
                      <a:pt x="1604" y="526"/>
                    </a:lnTo>
                    <a:lnTo>
                      <a:pt x="1611" y="538"/>
                    </a:lnTo>
                    <a:lnTo>
                      <a:pt x="1614" y="548"/>
                    </a:lnTo>
                    <a:lnTo>
                      <a:pt x="1616" y="554"/>
                    </a:lnTo>
                    <a:lnTo>
                      <a:pt x="1616" y="559"/>
                    </a:lnTo>
                    <a:lnTo>
                      <a:pt x="1616" y="564"/>
                    </a:lnTo>
                    <a:lnTo>
                      <a:pt x="1616" y="571"/>
                    </a:lnTo>
                    <a:lnTo>
                      <a:pt x="1618" y="576"/>
                    </a:lnTo>
                    <a:lnTo>
                      <a:pt x="1621" y="578"/>
                    </a:lnTo>
                    <a:lnTo>
                      <a:pt x="1623" y="578"/>
                    </a:lnTo>
                    <a:lnTo>
                      <a:pt x="1628" y="578"/>
                    </a:lnTo>
                    <a:lnTo>
                      <a:pt x="1632" y="576"/>
                    </a:lnTo>
                    <a:lnTo>
                      <a:pt x="1635" y="576"/>
                    </a:lnTo>
                    <a:lnTo>
                      <a:pt x="1640" y="576"/>
                    </a:lnTo>
                    <a:lnTo>
                      <a:pt x="1665" y="589"/>
                    </a:lnTo>
                    <a:lnTo>
                      <a:pt x="1673" y="595"/>
                    </a:lnTo>
                    <a:lnTo>
                      <a:pt x="1679" y="599"/>
                    </a:lnTo>
                    <a:lnTo>
                      <a:pt x="1684" y="599"/>
                    </a:lnTo>
                    <a:lnTo>
                      <a:pt x="1687" y="601"/>
                    </a:lnTo>
                    <a:lnTo>
                      <a:pt x="1692" y="602"/>
                    </a:lnTo>
                    <a:lnTo>
                      <a:pt x="1703" y="608"/>
                    </a:lnTo>
                    <a:lnTo>
                      <a:pt x="1722" y="618"/>
                    </a:lnTo>
                    <a:lnTo>
                      <a:pt x="1731" y="625"/>
                    </a:lnTo>
                    <a:lnTo>
                      <a:pt x="1740" y="630"/>
                    </a:lnTo>
                    <a:lnTo>
                      <a:pt x="1750" y="636"/>
                    </a:lnTo>
                    <a:lnTo>
                      <a:pt x="1760" y="641"/>
                    </a:lnTo>
                    <a:lnTo>
                      <a:pt x="1769" y="646"/>
                    </a:lnTo>
                    <a:lnTo>
                      <a:pt x="1780" y="649"/>
                    </a:lnTo>
                    <a:lnTo>
                      <a:pt x="1790" y="656"/>
                    </a:lnTo>
                    <a:lnTo>
                      <a:pt x="1799" y="665"/>
                    </a:lnTo>
                    <a:lnTo>
                      <a:pt x="1806" y="674"/>
                    </a:lnTo>
                    <a:lnTo>
                      <a:pt x="1814" y="684"/>
                    </a:lnTo>
                    <a:lnTo>
                      <a:pt x="1840" y="726"/>
                    </a:lnTo>
                    <a:lnTo>
                      <a:pt x="1844" y="735"/>
                    </a:lnTo>
                    <a:lnTo>
                      <a:pt x="1847" y="743"/>
                    </a:lnTo>
                    <a:lnTo>
                      <a:pt x="1853" y="763"/>
                    </a:lnTo>
                    <a:lnTo>
                      <a:pt x="1874" y="827"/>
                    </a:lnTo>
                    <a:lnTo>
                      <a:pt x="1903" y="925"/>
                    </a:lnTo>
                    <a:lnTo>
                      <a:pt x="1917" y="968"/>
                    </a:lnTo>
                    <a:lnTo>
                      <a:pt x="1929" y="1012"/>
                    </a:lnTo>
                    <a:lnTo>
                      <a:pt x="1936" y="1034"/>
                    </a:lnTo>
                    <a:lnTo>
                      <a:pt x="1938" y="1046"/>
                    </a:lnTo>
                    <a:lnTo>
                      <a:pt x="1940" y="1059"/>
                    </a:lnTo>
                    <a:lnTo>
                      <a:pt x="1941" y="1071"/>
                    </a:lnTo>
                    <a:lnTo>
                      <a:pt x="1945" y="1083"/>
                    </a:lnTo>
                    <a:lnTo>
                      <a:pt x="1955" y="1107"/>
                    </a:lnTo>
                    <a:lnTo>
                      <a:pt x="1959" y="1118"/>
                    </a:lnTo>
                    <a:lnTo>
                      <a:pt x="1962" y="1130"/>
                    </a:lnTo>
                    <a:lnTo>
                      <a:pt x="1966" y="1153"/>
                    </a:lnTo>
                    <a:lnTo>
                      <a:pt x="1969" y="1175"/>
                    </a:lnTo>
                    <a:lnTo>
                      <a:pt x="1973" y="1186"/>
                    </a:lnTo>
                    <a:lnTo>
                      <a:pt x="1976" y="1196"/>
                    </a:lnTo>
                    <a:lnTo>
                      <a:pt x="1990" y="1221"/>
                    </a:lnTo>
                    <a:lnTo>
                      <a:pt x="1997" y="1234"/>
                    </a:lnTo>
                    <a:lnTo>
                      <a:pt x="1999" y="1240"/>
                    </a:lnTo>
                    <a:lnTo>
                      <a:pt x="1999" y="1247"/>
                    </a:lnTo>
                    <a:lnTo>
                      <a:pt x="1997" y="1259"/>
                    </a:lnTo>
                    <a:lnTo>
                      <a:pt x="1994" y="1269"/>
                    </a:lnTo>
                    <a:lnTo>
                      <a:pt x="1985" y="1292"/>
                    </a:lnTo>
                    <a:lnTo>
                      <a:pt x="1982" y="1301"/>
                    </a:lnTo>
                    <a:lnTo>
                      <a:pt x="1976" y="1311"/>
                    </a:lnTo>
                    <a:lnTo>
                      <a:pt x="1969" y="1318"/>
                    </a:lnTo>
                    <a:lnTo>
                      <a:pt x="1961" y="1323"/>
                    </a:lnTo>
                    <a:lnTo>
                      <a:pt x="1908" y="1342"/>
                    </a:lnTo>
                    <a:lnTo>
                      <a:pt x="1900" y="1346"/>
                    </a:lnTo>
                    <a:lnTo>
                      <a:pt x="1889" y="1348"/>
                    </a:lnTo>
                    <a:lnTo>
                      <a:pt x="1886" y="1348"/>
                    </a:lnTo>
                    <a:lnTo>
                      <a:pt x="1881" y="1348"/>
                    </a:lnTo>
                    <a:lnTo>
                      <a:pt x="1877" y="1344"/>
                    </a:lnTo>
                    <a:lnTo>
                      <a:pt x="1874" y="1342"/>
                    </a:lnTo>
                    <a:lnTo>
                      <a:pt x="1846" y="1346"/>
                    </a:lnTo>
                    <a:lnTo>
                      <a:pt x="1835" y="1348"/>
                    </a:lnTo>
                    <a:lnTo>
                      <a:pt x="1832" y="1346"/>
                    </a:lnTo>
                    <a:lnTo>
                      <a:pt x="1828" y="1341"/>
                    </a:lnTo>
                    <a:lnTo>
                      <a:pt x="1814" y="1327"/>
                    </a:lnTo>
                    <a:lnTo>
                      <a:pt x="1809" y="1318"/>
                    </a:lnTo>
                    <a:lnTo>
                      <a:pt x="1806" y="1309"/>
                    </a:lnTo>
                    <a:lnTo>
                      <a:pt x="1804" y="1306"/>
                    </a:lnTo>
                    <a:lnTo>
                      <a:pt x="1799" y="1302"/>
                    </a:lnTo>
                    <a:lnTo>
                      <a:pt x="1790" y="1297"/>
                    </a:lnTo>
                    <a:lnTo>
                      <a:pt x="1773" y="1283"/>
                    </a:lnTo>
                    <a:lnTo>
                      <a:pt x="1767" y="1341"/>
                    </a:lnTo>
                    <a:lnTo>
                      <a:pt x="1767" y="1351"/>
                    </a:lnTo>
                    <a:lnTo>
                      <a:pt x="1767" y="1363"/>
                    </a:lnTo>
                    <a:lnTo>
                      <a:pt x="1773" y="1388"/>
                    </a:lnTo>
                    <a:lnTo>
                      <a:pt x="1774" y="1398"/>
                    </a:lnTo>
                    <a:lnTo>
                      <a:pt x="1780" y="1409"/>
                    </a:lnTo>
                    <a:lnTo>
                      <a:pt x="1788" y="1428"/>
                    </a:lnTo>
                    <a:lnTo>
                      <a:pt x="1793" y="1440"/>
                    </a:lnTo>
                    <a:lnTo>
                      <a:pt x="1797" y="1450"/>
                    </a:lnTo>
                    <a:lnTo>
                      <a:pt x="1799" y="1461"/>
                    </a:lnTo>
                    <a:lnTo>
                      <a:pt x="1799" y="1473"/>
                    </a:lnTo>
                    <a:lnTo>
                      <a:pt x="1792" y="1499"/>
                    </a:lnTo>
                    <a:lnTo>
                      <a:pt x="1790" y="1503"/>
                    </a:lnTo>
                    <a:lnTo>
                      <a:pt x="1788" y="1508"/>
                    </a:lnTo>
                    <a:lnTo>
                      <a:pt x="1785" y="1511"/>
                    </a:lnTo>
                    <a:lnTo>
                      <a:pt x="1783" y="1517"/>
                    </a:lnTo>
                    <a:lnTo>
                      <a:pt x="1780" y="1527"/>
                    </a:lnTo>
                    <a:lnTo>
                      <a:pt x="1778" y="1532"/>
                    </a:lnTo>
                    <a:lnTo>
                      <a:pt x="1778" y="1537"/>
                    </a:lnTo>
                    <a:lnTo>
                      <a:pt x="1783" y="1565"/>
                    </a:lnTo>
                    <a:lnTo>
                      <a:pt x="1788" y="1590"/>
                    </a:lnTo>
                    <a:lnTo>
                      <a:pt x="1795" y="1612"/>
                    </a:lnTo>
                    <a:lnTo>
                      <a:pt x="1811" y="1659"/>
                    </a:lnTo>
                    <a:lnTo>
                      <a:pt x="1820" y="1684"/>
                    </a:lnTo>
                    <a:lnTo>
                      <a:pt x="1827" y="1708"/>
                    </a:lnTo>
                    <a:lnTo>
                      <a:pt x="1828" y="1722"/>
                    </a:lnTo>
                    <a:lnTo>
                      <a:pt x="1827" y="1736"/>
                    </a:lnTo>
                    <a:lnTo>
                      <a:pt x="1821" y="1762"/>
                    </a:lnTo>
                    <a:lnTo>
                      <a:pt x="1813" y="1809"/>
                    </a:lnTo>
                    <a:lnTo>
                      <a:pt x="1809" y="1826"/>
                    </a:lnTo>
                    <a:lnTo>
                      <a:pt x="1806" y="1844"/>
                    </a:lnTo>
                    <a:lnTo>
                      <a:pt x="1795" y="1952"/>
                    </a:lnTo>
                    <a:lnTo>
                      <a:pt x="1790" y="2006"/>
                    </a:lnTo>
                    <a:lnTo>
                      <a:pt x="1783" y="2058"/>
                    </a:lnTo>
                    <a:lnTo>
                      <a:pt x="1769" y="2159"/>
                    </a:lnTo>
                    <a:lnTo>
                      <a:pt x="1755" y="2260"/>
                    </a:lnTo>
                    <a:lnTo>
                      <a:pt x="1743" y="2352"/>
                    </a:lnTo>
                    <a:lnTo>
                      <a:pt x="1733" y="2445"/>
                    </a:lnTo>
                    <a:lnTo>
                      <a:pt x="1710" y="2659"/>
                    </a:lnTo>
                    <a:lnTo>
                      <a:pt x="1701" y="2765"/>
                    </a:lnTo>
                    <a:lnTo>
                      <a:pt x="1694" y="2873"/>
                    </a:lnTo>
                    <a:lnTo>
                      <a:pt x="1691" y="2925"/>
                    </a:lnTo>
                    <a:lnTo>
                      <a:pt x="1691" y="2979"/>
                    </a:lnTo>
                    <a:lnTo>
                      <a:pt x="1692" y="3031"/>
                    </a:lnTo>
                    <a:lnTo>
                      <a:pt x="1692" y="3082"/>
                    </a:lnTo>
                    <a:lnTo>
                      <a:pt x="1692" y="3106"/>
                    </a:lnTo>
                    <a:lnTo>
                      <a:pt x="1691" y="3131"/>
                    </a:lnTo>
                    <a:lnTo>
                      <a:pt x="1689" y="3153"/>
                    </a:lnTo>
                    <a:lnTo>
                      <a:pt x="1687" y="3165"/>
                    </a:lnTo>
                    <a:lnTo>
                      <a:pt x="1682" y="3176"/>
                    </a:lnTo>
                    <a:lnTo>
                      <a:pt x="1680" y="3179"/>
                    </a:lnTo>
                    <a:lnTo>
                      <a:pt x="1680" y="3185"/>
                    </a:lnTo>
                    <a:lnTo>
                      <a:pt x="1682" y="3199"/>
                    </a:lnTo>
                    <a:lnTo>
                      <a:pt x="1691" y="3223"/>
                    </a:lnTo>
                    <a:lnTo>
                      <a:pt x="1694" y="3233"/>
                    </a:lnTo>
                    <a:lnTo>
                      <a:pt x="1699" y="3244"/>
                    </a:lnTo>
                    <a:lnTo>
                      <a:pt x="1706" y="3253"/>
                    </a:lnTo>
                    <a:lnTo>
                      <a:pt x="1715" y="3261"/>
                    </a:lnTo>
                    <a:lnTo>
                      <a:pt x="1733" y="3275"/>
                    </a:lnTo>
                    <a:lnTo>
                      <a:pt x="1750" y="3291"/>
                    </a:lnTo>
                    <a:lnTo>
                      <a:pt x="1757" y="3300"/>
                    </a:lnTo>
                    <a:lnTo>
                      <a:pt x="1766" y="3308"/>
                    </a:lnTo>
                    <a:lnTo>
                      <a:pt x="1771" y="3317"/>
                    </a:lnTo>
                    <a:lnTo>
                      <a:pt x="1774" y="3329"/>
                    </a:lnTo>
                    <a:lnTo>
                      <a:pt x="1778" y="3340"/>
                    </a:lnTo>
                    <a:lnTo>
                      <a:pt x="1780" y="3343"/>
                    </a:lnTo>
                    <a:lnTo>
                      <a:pt x="1781" y="3348"/>
                    </a:lnTo>
                    <a:lnTo>
                      <a:pt x="1783" y="3353"/>
                    </a:lnTo>
                    <a:lnTo>
                      <a:pt x="1785" y="3359"/>
                    </a:lnTo>
                    <a:lnTo>
                      <a:pt x="1783" y="3364"/>
                    </a:lnTo>
                    <a:lnTo>
                      <a:pt x="1780" y="3369"/>
                    </a:lnTo>
                    <a:lnTo>
                      <a:pt x="1776" y="3373"/>
                    </a:lnTo>
                    <a:lnTo>
                      <a:pt x="1773" y="3376"/>
                    </a:lnTo>
                    <a:lnTo>
                      <a:pt x="1762" y="3381"/>
                    </a:lnTo>
                    <a:lnTo>
                      <a:pt x="1740" y="3390"/>
                    </a:lnTo>
                    <a:lnTo>
                      <a:pt x="1729" y="3394"/>
                    </a:lnTo>
                    <a:lnTo>
                      <a:pt x="1719" y="3395"/>
                    </a:lnTo>
                    <a:lnTo>
                      <a:pt x="1706" y="3397"/>
                    </a:lnTo>
                    <a:lnTo>
                      <a:pt x="1696" y="3397"/>
                    </a:lnTo>
                    <a:lnTo>
                      <a:pt x="1673" y="3395"/>
                    </a:lnTo>
                    <a:lnTo>
                      <a:pt x="1652" y="3388"/>
                    </a:lnTo>
                    <a:lnTo>
                      <a:pt x="1630" y="3381"/>
                    </a:lnTo>
                    <a:lnTo>
                      <a:pt x="1609" y="3371"/>
                    </a:lnTo>
                    <a:lnTo>
                      <a:pt x="1569" y="3350"/>
                    </a:lnTo>
                    <a:lnTo>
                      <a:pt x="1538" y="3334"/>
                    </a:lnTo>
                    <a:lnTo>
                      <a:pt x="1541" y="3357"/>
                    </a:lnTo>
                    <a:lnTo>
                      <a:pt x="1543" y="3381"/>
                    </a:lnTo>
                    <a:lnTo>
                      <a:pt x="1541" y="3406"/>
                    </a:lnTo>
                    <a:lnTo>
                      <a:pt x="1539" y="3420"/>
                    </a:lnTo>
                    <a:lnTo>
                      <a:pt x="1538" y="3425"/>
                    </a:lnTo>
                    <a:lnTo>
                      <a:pt x="1534" y="3428"/>
                    </a:lnTo>
                    <a:lnTo>
                      <a:pt x="1532" y="3432"/>
                    </a:lnTo>
                    <a:lnTo>
                      <a:pt x="1531" y="3439"/>
                    </a:lnTo>
                    <a:lnTo>
                      <a:pt x="1529" y="3451"/>
                    </a:lnTo>
                    <a:lnTo>
                      <a:pt x="1531" y="3454"/>
                    </a:lnTo>
                    <a:lnTo>
                      <a:pt x="1534" y="3461"/>
                    </a:lnTo>
                    <a:lnTo>
                      <a:pt x="1539" y="3472"/>
                    </a:lnTo>
                    <a:lnTo>
                      <a:pt x="1548" y="3493"/>
                    </a:lnTo>
                    <a:lnTo>
                      <a:pt x="1553" y="3515"/>
                    </a:lnTo>
                    <a:lnTo>
                      <a:pt x="1555" y="3526"/>
                    </a:lnTo>
                    <a:lnTo>
                      <a:pt x="1555" y="3531"/>
                    </a:lnTo>
                    <a:lnTo>
                      <a:pt x="1553" y="3535"/>
                    </a:lnTo>
                    <a:lnTo>
                      <a:pt x="1527" y="3543"/>
                    </a:lnTo>
                    <a:lnTo>
                      <a:pt x="1480" y="3561"/>
                    </a:lnTo>
                    <a:lnTo>
                      <a:pt x="1459" y="3568"/>
                    </a:lnTo>
                    <a:lnTo>
                      <a:pt x="1450" y="3573"/>
                    </a:lnTo>
                    <a:lnTo>
                      <a:pt x="1442" y="3582"/>
                    </a:lnTo>
                    <a:lnTo>
                      <a:pt x="1437" y="3590"/>
                    </a:lnTo>
                    <a:lnTo>
                      <a:pt x="1431" y="3596"/>
                    </a:lnTo>
                    <a:lnTo>
                      <a:pt x="1428" y="3597"/>
                    </a:lnTo>
                    <a:lnTo>
                      <a:pt x="1405" y="3597"/>
                    </a:lnTo>
                    <a:lnTo>
                      <a:pt x="1379" y="3597"/>
                    </a:lnTo>
                    <a:lnTo>
                      <a:pt x="1365" y="3599"/>
                    </a:lnTo>
                    <a:lnTo>
                      <a:pt x="1353" y="3597"/>
                    </a:lnTo>
                    <a:lnTo>
                      <a:pt x="1348" y="3596"/>
                    </a:lnTo>
                    <a:lnTo>
                      <a:pt x="1342" y="3592"/>
                    </a:lnTo>
                    <a:lnTo>
                      <a:pt x="1337" y="3587"/>
                    </a:lnTo>
                    <a:lnTo>
                      <a:pt x="1329" y="3568"/>
                    </a:lnTo>
                    <a:lnTo>
                      <a:pt x="1315" y="3549"/>
                    </a:lnTo>
                    <a:lnTo>
                      <a:pt x="1301" y="3529"/>
                    </a:lnTo>
                    <a:lnTo>
                      <a:pt x="1289" y="3508"/>
                    </a:lnTo>
                    <a:lnTo>
                      <a:pt x="1276" y="3488"/>
                    </a:lnTo>
                    <a:lnTo>
                      <a:pt x="1252" y="3442"/>
                    </a:lnTo>
                    <a:lnTo>
                      <a:pt x="1248" y="3428"/>
                    </a:lnTo>
                    <a:lnTo>
                      <a:pt x="1245" y="3416"/>
                    </a:lnTo>
                    <a:lnTo>
                      <a:pt x="1242" y="3390"/>
                    </a:lnTo>
                    <a:lnTo>
                      <a:pt x="1236" y="3347"/>
                    </a:lnTo>
                    <a:lnTo>
                      <a:pt x="1233" y="3324"/>
                    </a:lnTo>
                    <a:lnTo>
                      <a:pt x="1229" y="3303"/>
                    </a:lnTo>
                    <a:lnTo>
                      <a:pt x="1205" y="3199"/>
                    </a:lnTo>
                    <a:lnTo>
                      <a:pt x="1194" y="3146"/>
                    </a:lnTo>
                    <a:lnTo>
                      <a:pt x="1188" y="3094"/>
                    </a:lnTo>
                    <a:lnTo>
                      <a:pt x="1184" y="3068"/>
                    </a:lnTo>
                    <a:lnTo>
                      <a:pt x="1184" y="3042"/>
                    </a:lnTo>
                    <a:lnTo>
                      <a:pt x="1184" y="2990"/>
                    </a:lnTo>
                    <a:lnTo>
                      <a:pt x="1186" y="2943"/>
                    </a:lnTo>
                    <a:lnTo>
                      <a:pt x="1189" y="2896"/>
                    </a:lnTo>
                    <a:lnTo>
                      <a:pt x="1193" y="2868"/>
                    </a:lnTo>
                    <a:lnTo>
                      <a:pt x="1198" y="2840"/>
                    </a:lnTo>
                    <a:lnTo>
                      <a:pt x="1200" y="2829"/>
                    </a:lnTo>
                    <a:lnTo>
                      <a:pt x="1201" y="2824"/>
                    </a:lnTo>
                    <a:lnTo>
                      <a:pt x="1201" y="2819"/>
                    </a:lnTo>
                    <a:lnTo>
                      <a:pt x="1193" y="2795"/>
                    </a:lnTo>
                    <a:lnTo>
                      <a:pt x="1188" y="2770"/>
                    </a:lnTo>
                    <a:lnTo>
                      <a:pt x="1184" y="2746"/>
                    </a:lnTo>
                    <a:lnTo>
                      <a:pt x="1184" y="2732"/>
                    </a:lnTo>
                    <a:lnTo>
                      <a:pt x="1184" y="2718"/>
                    </a:lnTo>
                    <a:lnTo>
                      <a:pt x="1184" y="2465"/>
                    </a:lnTo>
                    <a:lnTo>
                      <a:pt x="1182" y="2358"/>
                    </a:lnTo>
                    <a:lnTo>
                      <a:pt x="1182" y="2337"/>
                    </a:lnTo>
                    <a:lnTo>
                      <a:pt x="1181" y="2316"/>
                    </a:lnTo>
                    <a:lnTo>
                      <a:pt x="1175" y="2276"/>
                    </a:lnTo>
                    <a:lnTo>
                      <a:pt x="1172" y="2255"/>
                    </a:lnTo>
                    <a:lnTo>
                      <a:pt x="1168" y="2236"/>
                    </a:lnTo>
                    <a:lnTo>
                      <a:pt x="1161" y="2180"/>
                    </a:lnTo>
                    <a:lnTo>
                      <a:pt x="1158" y="2157"/>
                    </a:lnTo>
                    <a:lnTo>
                      <a:pt x="1156" y="2133"/>
                    </a:lnTo>
                    <a:lnTo>
                      <a:pt x="1156" y="2109"/>
                    </a:lnTo>
                    <a:lnTo>
                      <a:pt x="1158" y="2096"/>
                    </a:lnTo>
                    <a:lnTo>
                      <a:pt x="1160" y="2089"/>
                    </a:lnTo>
                    <a:lnTo>
                      <a:pt x="1160" y="2084"/>
                    </a:lnTo>
                    <a:lnTo>
                      <a:pt x="1147" y="2035"/>
                    </a:lnTo>
                    <a:lnTo>
                      <a:pt x="1144" y="2011"/>
                    </a:lnTo>
                    <a:lnTo>
                      <a:pt x="1141" y="1987"/>
                    </a:lnTo>
                    <a:lnTo>
                      <a:pt x="1139" y="1962"/>
                    </a:lnTo>
                    <a:lnTo>
                      <a:pt x="1139" y="1948"/>
                    </a:lnTo>
                    <a:lnTo>
                      <a:pt x="1141" y="1936"/>
                    </a:lnTo>
                    <a:lnTo>
                      <a:pt x="1142" y="1926"/>
                    </a:lnTo>
                    <a:lnTo>
                      <a:pt x="1144" y="1915"/>
                    </a:lnTo>
                    <a:lnTo>
                      <a:pt x="1141" y="1891"/>
                    </a:lnTo>
                    <a:lnTo>
                      <a:pt x="1139" y="1865"/>
                    </a:lnTo>
                    <a:lnTo>
                      <a:pt x="1139" y="1839"/>
                    </a:lnTo>
                    <a:lnTo>
                      <a:pt x="1139" y="1786"/>
                    </a:lnTo>
                    <a:lnTo>
                      <a:pt x="1142" y="1762"/>
                    </a:lnTo>
                    <a:lnTo>
                      <a:pt x="1144" y="1738"/>
                    </a:lnTo>
                    <a:lnTo>
                      <a:pt x="1146" y="1726"/>
                    </a:lnTo>
                    <a:lnTo>
                      <a:pt x="1149" y="1713"/>
                    </a:lnTo>
                    <a:lnTo>
                      <a:pt x="1151" y="1703"/>
                    </a:lnTo>
                    <a:lnTo>
                      <a:pt x="1153" y="1691"/>
                    </a:lnTo>
                    <a:lnTo>
                      <a:pt x="1158" y="1630"/>
                    </a:lnTo>
                    <a:lnTo>
                      <a:pt x="1160" y="1598"/>
                    </a:lnTo>
                    <a:lnTo>
                      <a:pt x="1163" y="1584"/>
                    </a:lnTo>
                    <a:lnTo>
                      <a:pt x="1167" y="1576"/>
                    </a:lnTo>
                    <a:lnTo>
                      <a:pt x="1170" y="1571"/>
                    </a:lnTo>
                    <a:lnTo>
                      <a:pt x="1172" y="1565"/>
                    </a:lnTo>
                    <a:lnTo>
                      <a:pt x="1170" y="1564"/>
                    </a:lnTo>
                    <a:lnTo>
                      <a:pt x="1153" y="1550"/>
                    </a:lnTo>
                    <a:lnTo>
                      <a:pt x="1139" y="1539"/>
                    </a:lnTo>
                    <a:lnTo>
                      <a:pt x="1137" y="1539"/>
                    </a:lnTo>
                    <a:lnTo>
                      <a:pt x="1135" y="1539"/>
                    </a:lnTo>
                    <a:lnTo>
                      <a:pt x="1130" y="1541"/>
                    </a:lnTo>
                    <a:lnTo>
                      <a:pt x="1114" y="1543"/>
                    </a:lnTo>
                    <a:lnTo>
                      <a:pt x="1107" y="1541"/>
                    </a:lnTo>
                    <a:lnTo>
                      <a:pt x="1100" y="1541"/>
                    </a:lnTo>
                    <a:lnTo>
                      <a:pt x="1095" y="1536"/>
                    </a:lnTo>
                    <a:lnTo>
                      <a:pt x="1092" y="1530"/>
                    </a:lnTo>
                    <a:lnTo>
                      <a:pt x="1087" y="1517"/>
                    </a:lnTo>
                    <a:lnTo>
                      <a:pt x="1081" y="1527"/>
                    </a:lnTo>
                    <a:lnTo>
                      <a:pt x="1080" y="1532"/>
                    </a:lnTo>
                    <a:lnTo>
                      <a:pt x="1081" y="1537"/>
                    </a:lnTo>
                    <a:lnTo>
                      <a:pt x="1085" y="1543"/>
                    </a:lnTo>
                    <a:lnTo>
                      <a:pt x="1087" y="1550"/>
                    </a:lnTo>
                    <a:lnTo>
                      <a:pt x="1087" y="1562"/>
                    </a:lnTo>
                    <a:lnTo>
                      <a:pt x="1085" y="1567"/>
                    </a:lnTo>
                    <a:lnTo>
                      <a:pt x="1083" y="1572"/>
                    </a:lnTo>
                    <a:lnTo>
                      <a:pt x="1081" y="1578"/>
                    </a:lnTo>
                    <a:lnTo>
                      <a:pt x="1078" y="1581"/>
                    </a:lnTo>
                    <a:lnTo>
                      <a:pt x="1069" y="1588"/>
                    </a:lnTo>
                    <a:lnTo>
                      <a:pt x="1060" y="1595"/>
                    </a:lnTo>
                    <a:lnTo>
                      <a:pt x="1052" y="1604"/>
                    </a:lnTo>
                    <a:lnTo>
                      <a:pt x="1048" y="1607"/>
                    </a:lnTo>
                    <a:lnTo>
                      <a:pt x="1045" y="1612"/>
                    </a:lnTo>
                    <a:lnTo>
                      <a:pt x="1045" y="1618"/>
                    </a:lnTo>
                    <a:lnTo>
                      <a:pt x="1046" y="1623"/>
                    </a:lnTo>
                    <a:lnTo>
                      <a:pt x="1050" y="1628"/>
                    </a:lnTo>
                    <a:lnTo>
                      <a:pt x="1052" y="1633"/>
                    </a:lnTo>
                    <a:lnTo>
                      <a:pt x="1057" y="1651"/>
                    </a:lnTo>
                    <a:lnTo>
                      <a:pt x="1059" y="1668"/>
                    </a:lnTo>
                    <a:lnTo>
                      <a:pt x="1066" y="1793"/>
                    </a:lnTo>
                    <a:lnTo>
                      <a:pt x="1069" y="1804"/>
                    </a:lnTo>
                    <a:lnTo>
                      <a:pt x="1073" y="1813"/>
                    </a:lnTo>
                    <a:lnTo>
                      <a:pt x="1081" y="1832"/>
                    </a:lnTo>
                    <a:lnTo>
                      <a:pt x="1085" y="1844"/>
                    </a:lnTo>
                    <a:lnTo>
                      <a:pt x="1087" y="1856"/>
                    </a:lnTo>
                    <a:lnTo>
                      <a:pt x="1088" y="1882"/>
                    </a:lnTo>
                    <a:lnTo>
                      <a:pt x="1088" y="1910"/>
                    </a:lnTo>
                    <a:lnTo>
                      <a:pt x="1090" y="1924"/>
                    </a:lnTo>
                    <a:lnTo>
                      <a:pt x="1094" y="1938"/>
                    </a:lnTo>
                    <a:lnTo>
                      <a:pt x="1095" y="1950"/>
                    </a:lnTo>
                    <a:lnTo>
                      <a:pt x="1095" y="1964"/>
                    </a:lnTo>
                    <a:lnTo>
                      <a:pt x="1094" y="1971"/>
                    </a:lnTo>
                    <a:lnTo>
                      <a:pt x="1092" y="1976"/>
                    </a:lnTo>
                    <a:lnTo>
                      <a:pt x="1088" y="1980"/>
                    </a:lnTo>
                    <a:lnTo>
                      <a:pt x="1083" y="1981"/>
                    </a:lnTo>
                    <a:lnTo>
                      <a:pt x="1088" y="1988"/>
                    </a:lnTo>
                    <a:lnTo>
                      <a:pt x="1090" y="1992"/>
                    </a:lnTo>
                    <a:lnTo>
                      <a:pt x="1090" y="1995"/>
                    </a:lnTo>
                    <a:lnTo>
                      <a:pt x="1088" y="1997"/>
                    </a:lnTo>
                    <a:lnTo>
                      <a:pt x="1087" y="2001"/>
                    </a:lnTo>
                    <a:lnTo>
                      <a:pt x="1080" y="2004"/>
                    </a:lnTo>
                    <a:lnTo>
                      <a:pt x="1083" y="2015"/>
                    </a:lnTo>
                    <a:lnTo>
                      <a:pt x="1083" y="2020"/>
                    </a:lnTo>
                    <a:lnTo>
                      <a:pt x="1081" y="2023"/>
                    </a:lnTo>
                    <a:lnTo>
                      <a:pt x="1080" y="2027"/>
                    </a:lnTo>
                    <a:lnTo>
                      <a:pt x="1076" y="2028"/>
                    </a:lnTo>
                    <a:lnTo>
                      <a:pt x="1066" y="2030"/>
                    </a:lnTo>
                    <a:lnTo>
                      <a:pt x="1060" y="2028"/>
                    </a:lnTo>
                    <a:lnTo>
                      <a:pt x="1057" y="2027"/>
                    </a:lnTo>
                    <a:lnTo>
                      <a:pt x="1048" y="2023"/>
                    </a:lnTo>
                    <a:lnTo>
                      <a:pt x="1017" y="2009"/>
                    </a:lnTo>
                    <a:lnTo>
                      <a:pt x="1013" y="2009"/>
                    </a:lnTo>
                    <a:lnTo>
                      <a:pt x="1010" y="2009"/>
                    </a:lnTo>
                    <a:lnTo>
                      <a:pt x="1001" y="2011"/>
                    </a:lnTo>
                    <a:lnTo>
                      <a:pt x="996" y="2011"/>
                    </a:lnTo>
                    <a:lnTo>
                      <a:pt x="993" y="2009"/>
                    </a:lnTo>
                    <a:lnTo>
                      <a:pt x="989" y="2008"/>
                    </a:lnTo>
                    <a:lnTo>
                      <a:pt x="986" y="2004"/>
                    </a:lnTo>
                    <a:lnTo>
                      <a:pt x="963" y="1957"/>
                    </a:lnTo>
                    <a:lnTo>
                      <a:pt x="940" y="1908"/>
                    </a:lnTo>
                    <a:lnTo>
                      <a:pt x="937" y="1896"/>
                    </a:lnTo>
                    <a:lnTo>
                      <a:pt x="935" y="1886"/>
                    </a:lnTo>
                    <a:lnTo>
                      <a:pt x="935" y="1861"/>
                    </a:lnTo>
                    <a:lnTo>
                      <a:pt x="937" y="1849"/>
                    </a:lnTo>
                    <a:lnTo>
                      <a:pt x="937" y="1839"/>
                    </a:lnTo>
                    <a:lnTo>
                      <a:pt x="935" y="1821"/>
                    </a:lnTo>
                    <a:lnTo>
                      <a:pt x="935" y="1818"/>
                    </a:lnTo>
                    <a:lnTo>
                      <a:pt x="930" y="1816"/>
                    </a:lnTo>
                    <a:lnTo>
                      <a:pt x="926" y="1814"/>
                    </a:lnTo>
                    <a:lnTo>
                      <a:pt x="925" y="1809"/>
                    </a:lnTo>
                    <a:lnTo>
                      <a:pt x="925" y="1804"/>
                    </a:lnTo>
                    <a:lnTo>
                      <a:pt x="925" y="1797"/>
                    </a:lnTo>
                    <a:lnTo>
                      <a:pt x="928" y="1773"/>
                    </a:lnTo>
                    <a:lnTo>
                      <a:pt x="926" y="1748"/>
                    </a:lnTo>
                    <a:lnTo>
                      <a:pt x="925" y="1726"/>
                    </a:lnTo>
                    <a:lnTo>
                      <a:pt x="919" y="1699"/>
                    </a:lnTo>
                    <a:lnTo>
                      <a:pt x="914" y="1689"/>
                    </a:lnTo>
                    <a:lnTo>
                      <a:pt x="912" y="1684"/>
                    </a:lnTo>
                    <a:lnTo>
                      <a:pt x="912" y="1678"/>
                    </a:lnTo>
                    <a:lnTo>
                      <a:pt x="916" y="1654"/>
                    </a:lnTo>
                    <a:lnTo>
                      <a:pt x="918" y="1642"/>
                    </a:lnTo>
                    <a:lnTo>
                      <a:pt x="923" y="1630"/>
                    </a:lnTo>
                    <a:lnTo>
                      <a:pt x="925" y="1628"/>
                    </a:lnTo>
                    <a:lnTo>
                      <a:pt x="923" y="1623"/>
                    </a:lnTo>
                    <a:lnTo>
                      <a:pt x="918" y="1609"/>
                    </a:lnTo>
                    <a:lnTo>
                      <a:pt x="909" y="1586"/>
                    </a:lnTo>
                    <a:lnTo>
                      <a:pt x="904" y="1564"/>
                    </a:lnTo>
                    <a:lnTo>
                      <a:pt x="897" y="1541"/>
                    </a:lnTo>
                    <a:lnTo>
                      <a:pt x="892" y="1518"/>
                    </a:lnTo>
                    <a:lnTo>
                      <a:pt x="888" y="1504"/>
                    </a:lnTo>
                    <a:lnTo>
                      <a:pt x="886" y="1497"/>
                    </a:lnTo>
                    <a:lnTo>
                      <a:pt x="886" y="1490"/>
                    </a:lnTo>
                    <a:lnTo>
                      <a:pt x="909" y="1443"/>
                    </a:lnTo>
                    <a:lnTo>
                      <a:pt x="914" y="1433"/>
                    </a:lnTo>
                    <a:lnTo>
                      <a:pt x="919" y="1424"/>
                    </a:lnTo>
                    <a:lnTo>
                      <a:pt x="921" y="1419"/>
                    </a:lnTo>
                    <a:lnTo>
                      <a:pt x="921" y="1414"/>
                    </a:lnTo>
                    <a:lnTo>
                      <a:pt x="921" y="1402"/>
                    </a:lnTo>
                    <a:lnTo>
                      <a:pt x="921" y="1389"/>
                    </a:lnTo>
                    <a:lnTo>
                      <a:pt x="921" y="1384"/>
                    </a:lnTo>
                    <a:lnTo>
                      <a:pt x="925" y="1381"/>
                    </a:lnTo>
                    <a:lnTo>
                      <a:pt x="925" y="1379"/>
                    </a:lnTo>
                    <a:lnTo>
                      <a:pt x="926" y="1377"/>
                    </a:lnTo>
                    <a:lnTo>
                      <a:pt x="925" y="1370"/>
                    </a:lnTo>
                    <a:lnTo>
                      <a:pt x="923" y="1360"/>
                    </a:lnTo>
                    <a:lnTo>
                      <a:pt x="918" y="1335"/>
                    </a:lnTo>
                    <a:lnTo>
                      <a:pt x="918" y="1323"/>
                    </a:lnTo>
                    <a:lnTo>
                      <a:pt x="918" y="1311"/>
                    </a:lnTo>
                    <a:lnTo>
                      <a:pt x="921" y="1288"/>
                    </a:lnTo>
                    <a:lnTo>
                      <a:pt x="928" y="1264"/>
                    </a:lnTo>
                    <a:lnTo>
                      <a:pt x="937" y="1241"/>
                    </a:lnTo>
                    <a:lnTo>
                      <a:pt x="944" y="1217"/>
                    </a:lnTo>
                    <a:lnTo>
                      <a:pt x="951" y="1193"/>
                    </a:lnTo>
                    <a:lnTo>
                      <a:pt x="952" y="1187"/>
                    </a:lnTo>
                    <a:lnTo>
                      <a:pt x="952" y="1182"/>
                    </a:lnTo>
                    <a:lnTo>
                      <a:pt x="951" y="1172"/>
                    </a:lnTo>
                    <a:lnTo>
                      <a:pt x="956" y="1123"/>
                    </a:lnTo>
                    <a:lnTo>
                      <a:pt x="958" y="1099"/>
                    </a:lnTo>
                    <a:lnTo>
                      <a:pt x="961" y="1074"/>
                    </a:lnTo>
                    <a:lnTo>
                      <a:pt x="968" y="1052"/>
                    </a:lnTo>
                    <a:lnTo>
                      <a:pt x="975" y="1029"/>
                    </a:lnTo>
                    <a:lnTo>
                      <a:pt x="993" y="928"/>
                    </a:lnTo>
                    <a:lnTo>
                      <a:pt x="1001" y="879"/>
                    </a:lnTo>
                    <a:lnTo>
                      <a:pt x="1012" y="829"/>
                    </a:lnTo>
                    <a:lnTo>
                      <a:pt x="1026" y="778"/>
                    </a:lnTo>
                    <a:lnTo>
                      <a:pt x="1033" y="752"/>
                    </a:lnTo>
                    <a:lnTo>
                      <a:pt x="1041" y="728"/>
                    </a:lnTo>
                    <a:lnTo>
                      <a:pt x="1052" y="707"/>
                    </a:lnTo>
                    <a:lnTo>
                      <a:pt x="1064" y="688"/>
                    </a:lnTo>
                    <a:lnTo>
                      <a:pt x="1080" y="672"/>
                    </a:lnTo>
                    <a:lnTo>
                      <a:pt x="1095" y="656"/>
                    </a:lnTo>
                    <a:lnTo>
                      <a:pt x="1113" y="644"/>
                    </a:lnTo>
                    <a:lnTo>
                      <a:pt x="1130" y="636"/>
                    </a:lnTo>
                    <a:lnTo>
                      <a:pt x="1151" y="627"/>
                    </a:lnTo>
                    <a:lnTo>
                      <a:pt x="1161" y="623"/>
                    </a:lnTo>
                    <a:lnTo>
                      <a:pt x="1170" y="616"/>
                    </a:lnTo>
                    <a:lnTo>
                      <a:pt x="1188" y="604"/>
                    </a:lnTo>
                    <a:lnTo>
                      <a:pt x="1207" y="592"/>
                    </a:lnTo>
                    <a:lnTo>
                      <a:pt x="1214" y="587"/>
                    </a:lnTo>
                    <a:lnTo>
                      <a:pt x="1222" y="583"/>
                    </a:lnTo>
                    <a:lnTo>
                      <a:pt x="1240" y="576"/>
                    </a:lnTo>
                    <a:lnTo>
                      <a:pt x="1261" y="564"/>
                    </a:lnTo>
                    <a:lnTo>
                      <a:pt x="1283" y="554"/>
                    </a:lnTo>
                    <a:lnTo>
                      <a:pt x="1299" y="547"/>
                    </a:lnTo>
                    <a:lnTo>
                      <a:pt x="1306" y="543"/>
                    </a:lnTo>
                    <a:lnTo>
                      <a:pt x="1311" y="535"/>
                    </a:lnTo>
                    <a:lnTo>
                      <a:pt x="1322" y="510"/>
                    </a:lnTo>
                    <a:lnTo>
                      <a:pt x="1330" y="486"/>
                    </a:lnTo>
                    <a:lnTo>
                      <a:pt x="1336" y="477"/>
                    </a:lnTo>
                    <a:lnTo>
                      <a:pt x="1342" y="470"/>
                    </a:lnTo>
                    <a:lnTo>
                      <a:pt x="1351" y="465"/>
                    </a:lnTo>
                    <a:lnTo>
                      <a:pt x="1360" y="461"/>
                    </a:lnTo>
                    <a:close/>
                    <a:moveTo>
                      <a:pt x="0" y="1379"/>
                    </a:moveTo>
                    <a:lnTo>
                      <a:pt x="0" y="1379"/>
                    </a:lnTo>
                    <a:close/>
                    <a:moveTo>
                      <a:pt x="1024" y="1896"/>
                    </a:moveTo>
                    <a:lnTo>
                      <a:pt x="1024" y="1896"/>
                    </a:lnTo>
                    <a:lnTo>
                      <a:pt x="1010" y="1910"/>
                    </a:lnTo>
                    <a:lnTo>
                      <a:pt x="1008" y="1915"/>
                    </a:lnTo>
                    <a:lnTo>
                      <a:pt x="1006" y="1919"/>
                    </a:lnTo>
                    <a:lnTo>
                      <a:pt x="1006" y="1929"/>
                    </a:lnTo>
                    <a:lnTo>
                      <a:pt x="1006" y="1934"/>
                    </a:lnTo>
                    <a:lnTo>
                      <a:pt x="1010" y="1936"/>
                    </a:lnTo>
                    <a:lnTo>
                      <a:pt x="1019" y="1934"/>
                    </a:lnTo>
                    <a:lnTo>
                      <a:pt x="1024" y="1936"/>
                    </a:lnTo>
                    <a:lnTo>
                      <a:pt x="1027" y="1940"/>
                    </a:lnTo>
                    <a:lnTo>
                      <a:pt x="1034" y="1947"/>
                    </a:lnTo>
                    <a:lnTo>
                      <a:pt x="1034" y="1917"/>
                    </a:lnTo>
                    <a:lnTo>
                      <a:pt x="1033" y="1912"/>
                    </a:lnTo>
                    <a:lnTo>
                      <a:pt x="1031" y="1907"/>
                    </a:lnTo>
                    <a:lnTo>
                      <a:pt x="1024" y="1896"/>
                    </a:lnTo>
                    <a:close/>
                    <a:moveTo>
                      <a:pt x="1464" y="2086"/>
                    </a:moveTo>
                    <a:lnTo>
                      <a:pt x="1464" y="2086"/>
                    </a:lnTo>
                    <a:lnTo>
                      <a:pt x="1463" y="2082"/>
                    </a:lnTo>
                    <a:lnTo>
                      <a:pt x="1461" y="2082"/>
                    </a:lnTo>
                    <a:lnTo>
                      <a:pt x="1459" y="2089"/>
                    </a:lnTo>
                    <a:lnTo>
                      <a:pt x="1456" y="2107"/>
                    </a:lnTo>
                    <a:lnTo>
                      <a:pt x="1450" y="2176"/>
                    </a:lnTo>
                    <a:lnTo>
                      <a:pt x="1447" y="2223"/>
                    </a:lnTo>
                    <a:lnTo>
                      <a:pt x="1447" y="2269"/>
                    </a:lnTo>
                    <a:lnTo>
                      <a:pt x="1449" y="2293"/>
                    </a:lnTo>
                    <a:lnTo>
                      <a:pt x="1447" y="2316"/>
                    </a:lnTo>
                    <a:lnTo>
                      <a:pt x="1445" y="2328"/>
                    </a:lnTo>
                    <a:lnTo>
                      <a:pt x="1443" y="2340"/>
                    </a:lnTo>
                    <a:lnTo>
                      <a:pt x="1440" y="2352"/>
                    </a:lnTo>
                    <a:lnTo>
                      <a:pt x="1438" y="2366"/>
                    </a:lnTo>
                    <a:lnTo>
                      <a:pt x="1437" y="2391"/>
                    </a:lnTo>
                    <a:lnTo>
                      <a:pt x="1433" y="2417"/>
                    </a:lnTo>
                    <a:lnTo>
                      <a:pt x="1430" y="2438"/>
                    </a:lnTo>
                    <a:lnTo>
                      <a:pt x="1426" y="2460"/>
                    </a:lnTo>
                    <a:lnTo>
                      <a:pt x="1423" y="2488"/>
                    </a:lnTo>
                    <a:lnTo>
                      <a:pt x="1419" y="2516"/>
                    </a:lnTo>
                    <a:lnTo>
                      <a:pt x="1416" y="2528"/>
                    </a:lnTo>
                    <a:lnTo>
                      <a:pt x="1414" y="2539"/>
                    </a:lnTo>
                    <a:lnTo>
                      <a:pt x="1409" y="2551"/>
                    </a:lnTo>
                    <a:lnTo>
                      <a:pt x="1405" y="2563"/>
                    </a:lnTo>
                    <a:lnTo>
                      <a:pt x="1409" y="2560"/>
                    </a:lnTo>
                    <a:lnTo>
                      <a:pt x="1410" y="2556"/>
                    </a:lnTo>
                    <a:lnTo>
                      <a:pt x="1405" y="2608"/>
                    </a:lnTo>
                    <a:lnTo>
                      <a:pt x="1407" y="2617"/>
                    </a:lnTo>
                    <a:lnTo>
                      <a:pt x="1409" y="2626"/>
                    </a:lnTo>
                    <a:lnTo>
                      <a:pt x="1412" y="2643"/>
                    </a:lnTo>
                    <a:lnTo>
                      <a:pt x="1435" y="2767"/>
                    </a:lnTo>
                    <a:lnTo>
                      <a:pt x="1438" y="2789"/>
                    </a:lnTo>
                    <a:lnTo>
                      <a:pt x="1442" y="2812"/>
                    </a:lnTo>
                    <a:lnTo>
                      <a:pt x="1445" y="2857"/>
                    </a:lnTo>
                    <a:lnTo>
                      <a:pt x="1457" y="2963"/>
                    </a:lnTo>
                    <a:lnTo>
                      <a:pt x="1464" y="2918"/>
                    </a:lnTo>
                    <a:lnTo>
                      <a:pt x="1468" y="2896"/>
                    </a:lnTo>
                    <a:lnTo>
                      <a:pt x="1473" y="2873"/>
                    </a:lnTo>
                    <a:lnTo>
                      <a:pt x="1477" y="2864"/>
                    </a:lnTo>
                    <a:lnTo>
                      <a:pt x="1480" y="2854"/>
                    </a:lnTo>
                    <a:lnTo>
                      <a:pt x="1480" y="2838"/>
                    </a:lnTo>
                    <a:lnTo>
                      <a:pt x="1480" y="2772"/>
                    </a:lnTo>
                    <a:lnTo>
                      <a:pt x="1482" y="2728"/>
                    </a:lnTo>
                    <a:lnTo>
                      <a:pt x="1484" y="2683"/>
                    </a:lnTo>
                    <a:lnTo>
                      <a:pt x="1487" y="2641"/>
                    </a:lnTo>
                    <a:lnTo>
                      <a:pt x="1492" y="2619"/>
                    </a:lnTo>
                    <a:lnTo>
                      <a:pt x="1494" y="2613"/>
                    </a:lnTo>
                    <a:lnTo>
                      <a:pt x="1497" y="2610"/>
                    </a:lnTo>
                    <a:lnTo>
                      <a:pt x="1506" y="2605"/>
                    </a:lnTo>
                    <a:lnTo>
                      <a:pt x="1501" y="2603"/>
                    </a:lnTo>
                    <a:lnTo>
                      <a:pt x="1496" y="2601"/>
                    </a:lnTo>
                    <a:lnTo>
                      <a:pt x="1492" y="2600"/>
                    </a:lnTo>
                    <a:lnTo>
                      <a:pt x="1489" y="2594"/>
                    </a:lnTo>
                    <a:lnTo>
                      <a:pt x="1485" y="2586"/>
                    </a:lnTo>
                    <a:lnTo>
                      <a:pt x="1484" y="2573"/>
                    </a:lnTo>
                    <a:lnTo>
                      <a:pt x="1484" y="2560"/>
                    </a:lnTo>
                    <a:lnTo>
                      <a:pt x="1485" y="2547"/>
                    </a:lnTo>
                    <a:lnTo>
                      <a:pt x="1489" y="2526"/>
                    </a:lnTo>
                    <a:lnTo>
                      <a:pt x="1494" y="2516"/>
                    </a:lnTo>
                    <a:lnTo>
                      <a:pt x="1496" y="2511"/>
                    </a:lnTo>
                    <a:lnTo>
                      <a:pt x="1496" y="2507"/>
                    </a:lnTo>
                    <a:lnTo>
                      <a:pt x="1484" y="2483"/>
                    </a:lnTo>
                    <a:lnTo>
                      <a:pt x="1480" y="2471"/>
                    </a:lnTo>
                    <a:lnTo>
                      <a:pt x="1477" y="2460"/>
                    </a:lnTo>
                    <a:lnTo>
                      <a:pt x="1471" y="2436"/>
                    </a:lnTo>
                    <a:lnTo>
                      <a:pt x="1471" y="2424"/>
                    </a:lnTo>
                    <a:lnTo>
                      <a:pt x="1471" y="2412"/>
                    </a:lnTo>
                    <a:lnTo>
                      <a:pt x="1473" y="2387"/>
                    </a:lnTo>
                    <a:lnTo>
                      <a:pt x="1475" y="2378"/>
                    </a:lnTo>
                    <a:lnTo>
                      <a:pt x="1478" y="2368"/>
                    </a:lnTo>
                    <a:lnTo>
                      <a:pt x="1477" y="2335"/>
                    </a:lnTo>
                    <a:lnTo>
                      <a:pt x="1473" y="2288"/>
                    </a:lnTo>
                    <a:lnTo>
                      <a:pt x="1470" y="2241"/>
                    </a:lnTo>
                    <a:lnTo>
                      <a:pt x="1470" y="2222"/>
                    </a:lnTo>
                    <a:lnTo>
                      <a:pt x="1470" y="2204"/>
                    </a:lnTo>
                    <a:lnTo>
                      <a:pt x="1471" y="2197"/>
                    </a:lnTo>
                    <a:lnTo>
                      <a:pt x="1475" y="2190"/>
                    </a:lnTo>
                    <a:lnTo>
                      <a:pt x="1477" y="2183"/>
                    </a:lnTo>
                    <a:lnTo>
                      <a:pt x="1477" y="2176"/>
                    </a:lnTo>
                    <a:lnTo>
                      <a:pt x="1464" y="2086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scene3d>
                <a:camera prst="orthographicFront">
                  <a:rot lat="0" lon="0" rev="0"/>
                </a:camera>
                <a:lightRig rig="threePt" dir="t"/>
              </a:scene3d>
            </p:spPr>
            <p:txBody>
              <a:bodyPr/>
              <a:lstStyle/>
              <a:p>
                <a:endParaRPr lang="en-US" baseline="-25000">
                  <a:solidFill>
                    <a:srgbClr val="000000"/>
                  </a:solidFill>
                  <a:ea typeface="MS PGothic" panose="020B0600070205080204" pitchFamily="34" charset="-128"/>
                  <a:cs typeface="ＭＳ Ｐゴシック" charset="0"/>
                </a:endParaRPr>
              </a:p>
            </p:txBody>
          </p:sp>
        </p:grpSp>
        <p:sp>
          <p:nvSpPr>
            <p:cNvPr id="88" name="Sylinder 87"/>
            <p:cNvSpPr/>
            <p:nvPr/>
          </p:nvSpPr>
          <p:spPr bwMode="auto">
            <a:xfrm>
              <a:off x="8017150" y="3115134"/>
              <a:ext cx="648072" cy="644184"/>
            </a:xfrm>
            <a:prstGeom prst="can">
              <a:avLst/>
            </a:prstGeom>
            <a:solidFill>
              <a:schemeClr val="accent4">
                <a:lumMod val="75000"/>
              </a:schemeClr>
            </a:solidFill>
            <a:ln w="9525" cap="flat" cmpd="sng" algn="ctr">
              <a:solidFill>
                <a:schemeClr val="accent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eaLnBrk="0" hangingPunct="0"/>
              <a:endParaRPr lang="nb-NO">
                <a:solidFill>
                  <a:srgbClr val="000000"/>
                </a:solidFill>
                <a:latin typeface="Times" pitchFamily="-109" charset="0"/>
                <a:ea typeface="MS PGothic" panose="020B0600070205080204" pitchFamily="34" charset="-128"/>
              </a:endParaRPr>
            </a:p>
          </p:txBody>
        </p:sp>
        <p:sp>
          <p:nvSpPr>
            <p:cNvPr id="89" name="Rektangel 88"/>
            <p:cNvSpPr/>
            <p:nvPr/>
          </p:nvSpPr>
          <p:spPr bwMode="auto">
            <a:xfrm>
              <a:off x="7028656" y="2780626"/>
              <a:ext cx="1359768" cy="864096"/>
            </a:xfrm>
            <a:prstGeom prst="rect">
              <a:avLst/>
            </a:prstGeom>
            <a:solidFill>
              <a:schemeClr val="accent4">
                <a:lumMod val="75000"/>
              </a:schemeClr>
            </a:solidFill>
            <a:ln w="9525" cap="flat" cmpd="sng" algn="ctr">
              <a:solidFill>
                <a:schemeClr val="accent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eaLnBrk="0" hangingPunct="0"/>
              <a:endParaRPr lang="nb-NO" sz="1400" dirty="0">
                <a:solidFill>
                  <a:srgbClr val="FFFFFF"/>
                </a:solidFill>
                <a:ea typeface="MS PGothic" panose="020B0600070205080204" pitchFamily="34" charset="-128"/>
              </a:endParaRPr>
            </a:p>
          </p:txBody>
        </p:sp>
        <p:sp>
          <p:nvSpPr>
            <p:cNvPr id="90" name="Rektangel 89"/>
            <p:cNvSpPr/>
            <p:nvPr/>
          </p:nvSpPr>
          <p:spPr bwMode="auto">
            <a:xfrm>
              <a:off x="3851920" y="5162478"/>
              <a:ext cx="1594020" cy="864096"/>
            </a:xfrm>
            <a:prstGeom prst="rect">
              <a:avLst/>
            </a:prstGeom>
            <a:solidFill>
              <a:schemeClr val="accent4">
                <a:lumMod val="50000"/>
              </a:schemeClr>
            </a:solidFill>
            <a:ln w="9525" cap="flat" cmpd="sng" algn="ctr">
              <a:solidFill>
                <a:schemeClr val="accent4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eaLnBrk="0" hangingPunct="0"/>
              <a:endParaRPr lang="nb-NO" sz="1400" dirty="0">
                <a:solidFill>
                  <a:srgbClr val="FFFFFF"/>
                </a:solidFill>
                <a:ea typeface="MS PGothic" panose="020B0600070205080204" pitchFamily="34" charset="-128"/>
              </a:endParaRPr>
            </a:p>
          </p:txBody>
        </p:sp>
        <p:sp>
          <p:nvSpPr>
            <p:cNvPr id="91" name="Rektangel 90"/>
            <p:cNvSpPr/>
            <p:nvPr/>
          </p:nvSpPr>
          <p:spPr bwMode="auto">
            <a:xfrm>
              <a:off x="6876256" y="2700234"/>
              <a:ext cx="1359768" cy="864096"/>
            </a:xfrm>
            <a:prstGeom prst="rect">
              <a:avLst/>
            </a:prstGeom>
            <a:solidFill>
              <a:schemeClr val="accent4">
                <a:lumMod val="75000"/>
              </a:schemeClr>
            </a:solidFill>
            <a:ln w="9525" cap="flat" cmpd="sng" algn="ctr">
              <a:solidFill>
                <a:schemeClr val="accent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eaLnBrk="0" hangingPunct="0"/>
              <a:endParaRPr lang="nb-NO" sz="1400" dirty="0">
                <a:solidFill>
                  <a:srgbClr val="FFFFFF"/>
                </a:solidFill>
                <a:ea typeface="MS PGothic" panose="020B0600070205080204" pitchFamily="34" charset="-128"/>
              </a:endParaRPr>
            </a:p>
          </p:txBody>
        </p:sp>
        <p:sp>
          <p:nvSpPr>
            <p:cNvPr id="92" name="Sylinder 91"/>
            <p:cNvSpPr/>
            <p:nvPr/>
          </p:nvSpPr>
          <p:spPr bwMode="auto">
            <a:xfrm>
              <a:off x="7884368" y="3043126"/>
              <a:ext cx="648072" cy="644184"/>
            </a:xfrm>
            <a:prstGeom prst="can">
              <a:avLst/>
            </a:prstGeom>
            <a:solidFill>
              <a:schemeClr val="accent4">
                <a:lumMod val="75000"/>
              </a:schemeClr>
            </a:solidFill>
            <a:ln w="9525" cap="flat" cmpd="sng" algn="ctr">
              <a:solidFill>
                <a:schemeClr val="accent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eaLnBrk="0" hangingPunct="0"/>
              <a:endParaRPr lang="nb-NO">
                <a:solidFill>
                  <a:srgbClr val="000000"/>
                </a:solidFill>
                <a:latin typeface="Times" pitchFamily="-109" charset="0"/>
                <a:ea typeface="MS PGothic" panose="020B0600070205080204" pitchFamily="34" charset="-128"/>
              </a:endParaRPr>
            </a:p>
          </p:txBody>
        </p:sp>
        <p:sp>
          <p:nvSpPr>
            <p:cNvPr id="110" name="Sylinder 109"/>
            <p:cNvSpPr/>
            <p:nvPr/>
          </p:nvSpPr>
          <p:spPr bwMode="auto">
            <a:xfrm>
              <a:off x="8017150" y="4339270"/>
              <a:ext cx="648072" cy="644184"/>
            </a:xfrm>
            <a:prstGeom prst="can">
              <a:avLst/>
            </a:prstGeom>
            <a:solidFill>
              <a:schemeClr val="accent4">
                <a:lumMod val="50000"/>
              </a:schemeClr>
            </a:solidFill>
            <a:ln w="9525" cap="flat" cmpd="sng" algn="ctr">
              <a:solidFill>
                <a:schemeClr val="accent4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eaLnBrk="0" hangingPunct="0"/>
              <a:endParaRPr lang="nb-NO">
                <a:solidFill>
                  <a:srgbClr val="000000"/>
                </a:solidFill>
                <a:latin typeface="Times" pitchFamily="-109" charset="0"/>
                <a:ea typeface="MS PGothic" panose="020B0600070205080204" pitchFamily="34" charset="-128"/>
              </a:endParaRPr>
            </a:p>
          </p:txBody>
        </p:sp>
        <p:sp>
          <p:nvSpPr>
            <p:cNvPr id="115" name="Rektangel 114"/>
            <p:cNvSpPr/>
            <p:nvPr/>
          </p:nvSpPr>
          <p:spPr bwMode="auto">
            <a:xfrm>
              <a:off x="7028656" y="4004762"/>
              <a:ext cx="1359768" cy="864096"/>
            </a:xfrm>
            <a:prstGeom prst="rect">
              <a:avLst/>
            </a:prstGeom>
            <a:solidFill>
              <a:schemeClr val="accent4">
                <a:lumMod val="50000"/>
              </a:schemeClr>
            </a:solidFill>
            <a:ln w="9525" cap="flat" cmpd="sng" algn="ctr">
              <a:solidFill>
                <a:schemeClr val="accent4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eaLnBrk="0" hangingPunct="0"/>
              <a:endParaRPr lang="nb-NO" sz="1400" dirty="0">
                <a:solidFill>
                  <a:srgbClr val="FFFFFF"/>
                </a:solidFill>
                <a:ea typeface="MS PGothic" panose="020B0600070205080204" pitchFamily="34" charset="-128"/>
              </a:endParaRPr>
            </a:p>
          </p:txBody>
        </p:sp>
        <p:sp>
          <p:nvSpPr>
            <p:cNvPr id="118" name="Rektangel 117"/>
            <p:cNvSpPr/>
            <p:nvPr/>
          </p:nvSpPr>
          <p:spPr bwMode="auto">
            <a:xfrm>
              <a:off x="6876256" y="3924370"/>
              <a:ext cx="1359768" cy="864096"/>
            </a:xfrm>
            <a:prstGeom prst="rect">
              <a:avLst/>
            </a:prstGeom>
            <a:solidFill>
              <a:schemeClr val="accent4">
                <a:lumMod val="50000"/>
              </a:schemeClr>
            </a:solidFill>
            <a:ln w="9525" cap="flat" cmpd="sng" algn="ctr">
              <a:solidFill>
                <a:schemeClr val="accent4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eaLnBrk="0" hangingPunct="0"/>
              <a:endParaRPr lang="nb-NO" sz="1400" dirty="0">
                <a:solidFill>
                  <a:srgbClr val="FFFFFF"/>
                </a:solidFill>
                <a:ea typeface="MS PGothic" panose="020B0600070205080204" pitchFamily="34" charset="-128"/>
              </a:endParaRPr>
            </a:p>
          </p:txBody>
        </p:sp>
        <p:sp>
          <p:nvSpPr>
            <p:cNvPr id="119" name="Sylinder 118"/>
            <p:cNvSpPr/>
            <p:nvPr/>
          </p:nvSpPr>
          <p:spPr bwMode="auto">
            <a:xfrm>
              <a:off x="7884368" y="4267262"/>
              <a:ext cx="648072" cy="644184"/>
            </a:xfrm>
            <a:prstGeom prst="can">
              <a:avLst/>
            </a:prstGeom>
            <a:solidFill>
              <a:schemeClr val="accent4">
                <a:lumMod val="50000"/>
              </a:schemeClr>
            </a:solidFill>
            <a:ln w="9525" cap="flat" cmpd="sng" algn="ctr">
              <a:solidFill>
                <a:schemeClr val="accent4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eaLnBrk="0" hangingPunct="0"/>
              <a:endParaRPr lang="nb-NO">
                <a:solidFill>
                  <a:srgbClr val="000000"/>
                </a:solidFill>
                <a:latin typeface="Times" pitchFamily="-109" charset="0"/>
                <a:ea typeface="MS PGothic" panose="020B0600070205080204" pitchFamily="34" charset="-128"/>
              </a:endParaRPr>
            </a:p>
          </p:txBody>
        </p:sp>
        <p:sp>
          <p:nvSpPr>
            <p:cNvPr id="120" name="Rektangel 119"/>
            <p:cNvSpPr/>
            <p:nvPr/>
          </p:nvSpPr>
          <p:spPr bwMode="auto">
            <a:xfrm>
              <a:off x="5850143" y="2633449"/>
              <a:ext cx="90010" cy="664208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eaLnBrk="0" hangingPunct="0"/>
              <a:endParaRPr lang="nb-NO" sz="1400" dirty="0">
                <a:solidFill>
                  <a:srgbClr val="FFFFFF"/>
                </a:solidFill>
                <a:ea typeface="MS PGothic" panose="020B0600070205080204" pitchFamily="34" charset="-128"/>
              </a:endParaRPr>
            </a:p>
          </p:txBody>
        </p:sp>
        <p:sp>
          <p:nvSpPr>
            <p:cNvPr id="121" name="Rektangel 120"/>
            <p:cNvSpPr/>
            <p:nvPr/>
          </p:nvSpPr>
          <p:spPr bwMode="auto">
            <a:xfrm>
              <a:off x="5850143" y="3324655"/>
              <a:ext cx="90010" cy="664208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eaLnBrk="0" hangingPunct="0"/>
              <a:endParaRPr lang="nb-NO" sz="1400" dirty="0">
                <a:solidFill>
                  <a:srgbClr val="FFFFFF"/>
                </a:solidFill>
                <a:ea typeface="MS PGothic" panose="020B0600070205080204" pitchFamily="34" charset="-128"/>
              </a:endParaRPr>
            </a:p>
          </p:txBody>
        </p:sp>
        <p:sp>
          <p:nvSpPr>
            <p:cNvPr id="122" name="Rektangel 121"/>
            <p:cNvSpPr/>
            <p:nvPr/>
          </p:nvSpPr>
          <p:spPr bwMode="auto">
            <a:xfrm>
              <a:off x="5850143" y="4017802"/>
              <a:ext cx="90010" cy="664208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eaLnBrk="0" hangingPunct="0"/>
              <a:endParaRPr lang="nb-NO" sz="1400" dirty="0">
                <a:solidFill>
                  <a:srgbClr val="FFFFFF"/>
                </a:solidFill>
                <a:ea typeface="MS PGothic" panose="020B0600070205080204" pitchFamily="34" charset="-128"/>
              </a:endParaRPr>
            </a:p>
          </p:txBody>
        </p:sp>
        <p:sp>
          <p:nvSpPr>
            <p:cNvPr id="123" name="Rektangel 122"/>
            <p:cNvSpPr/>
            <p:nvPr/>
          </p:nvSpPr>
          <p:spPr bwMode="auto">
            <a:xfrm>
              <a:off x="5850143" y="4709008"/>
              <a:ext cx="90010" cy="664208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eaLnBrk="0" hangingPunct="0"/>
              <a:endParaRPr lang="nb-NO" sz="1400" dirty="0">
                <a:solidFill>
                  <a:srgbClr val="FFFFFF"/>
                </a:solidFill>
                <a:ea typeface="MS PGothic" panose="020B0600070205080204" pitchFamily="34" charset="-128"/>
              </a:endParaRPr>
            </a:p>
          </p:txBody>
        </p:sp>
        <p:cxnSp>
          <p:nvCxnSpPr>
            <p:cNvPr id="124" name="Rett linje 123"/>
            <p:cNvCxnSpPr>
              <a:stCxn id="123" idx="3"/>
              <a:endCxn id="118" idx="1"/>
            </p:cNvCxnSpPr>
            <p:nvPr/>
          </p:nvCxnSpPr>
          <p:spPr bwMode="auto">
            <a:xfrm flipV="1">
              <a:off x="5940153" y="4356418"/>
              <a:ext cx="936103" cy="684694"/>
            </a:xfrm>
            <a:prstGeom prst="line">
              <a:avLst/>
            </a:prstGeom>
            <a:solidFill>
              <a:schemeClr val="accent1"/>
            </a:solidFill>
            <a:ln w="28575" cap="flat" cmpd="sng" algn="ctr">
              <a:solidFill>
                <a:schemeClr val="accent4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25" name="Rett linje 124"/>
            <p:cNvCxnSpPr>
              <a:stCxn id="122" idx="3"/>
              <a:endCxn id="118" idx="1"/>
            </p:cNvCxnSpPr>
            <p:nvPr/>
          </p:nvCxnSpPr>
          <p:spPr bwMode="auto">
            <a:xfrm>
              <a:off x="5940153" y="4349906"/>
              <a:ext cx="936103" cy="6512"/>
            </a:xfrm>
            <a:prstGeom prst="line">
              <a:avLst/>
            </a:prstGeom>
            <a:solidFill>
              <a:schemeClr val="accent1"/>
            </a:solidFill>
            <a:ln w="28575" cap="flat" cmpd="sng" algn="ctr">
              <a:solidFill>
                <a:schemeClr val="accent4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26" name="Rett linje 125"/>
            <p:cNvCxnSpPr>
              <a:stCxn id="121" idx="3"/>
              <a:endCxn id="91" idx="1"/>
            </p:cNvCxnSpPr>
            <p:nvPr/>
          </p:nvCxnSpPr>
          <p:spPr bwMode="auto">
            <a:xfrm flipV="1">
              <a:off x="5940153" y="3132282"/>
              <a:ext cx="936103" cy="524477"/>
            </a:xfrm>
            <a:prstGeom prst="line">
              <a:avLst/>
            </a:prstGeom>
            <a:solidFill>
              <a:schemeClr val="accent1"/>
            </a:solidFill>
            <a:ln w="28575" cap="flat" cmpd="sng" algn="ctr">
              <a:solidFill>
                <a:schemeClr val="accent4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27" name="Rett linje 126"/>
            <p:cNvCxnSpPr>
              <a:stCxn id="120" idx="3"/>
              <a:endCxn id="91" idx="1"/>
            </p:cNvCxnSpPr>
            <p:nvPr/>
          </p:nvCxnSpPr>
          <p:spPr bwMode="auto">
            <a:xfrm>
              <a:off x="5940153" y="2965553"/>
              <a:ext cx="936103" cy="166729"/>
            </a:xfrm>
            <a:prstGeom prst="line">
              <a:avLst/>
            </a:prstGeom>
            <a:solidFill>
              <a:schemeClr val="accent1"/>
            </a:solidFill>
            <a:ln w="28575" cap="flat" cmpd="sng" algn="ctr">
              <a:solidFill>
                <a:schemeClr val="accent4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28" name="Rett linje 127"/>
            <p:cNvCxnSpPr/>
            <p:nvPr/>
          </p:nvCxnSpPr>
          <p:spPr bwMode="auto">
            <a:xfrm flipV="1">
              <a:off x="5573060" y="3918997"/>
              <a:ext cx="277082" cy="1"/>
            </a:xfrm>
            <a:prstGeom prst="line">
              <a:avLst/>
            </a:prstGeom>
            <a:solidFill>
              <a:schemeClr val="accent1"/>
            </a:solidFill>
            <a:ln w="28575" cap="flat" cmpd="sng" algn="ctr">
              <a:solidFill>
                <a:schemeClr val="accent4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34963711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03250075"/>
              </p:ext>
            </p:ext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337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2" name="Bilde 21"/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48024" y="3652156"/>
            <a:ext cx="1053117" cy="485323"/>
          </a:xfrm>
          <a:prstGeom prst="rect">
            <a:avLst/>
          </a:prstGeom>
        </p:spPr>
      </p:pic>
      <p:sp>
        <p:nvSpPr>
          <p:cNvPr id="23" name="Rektangel 22"/>
          <p:cNvSpPr/>
          <p:nvPr/>
        </p:nvSpPr>
        <p:spPr>
          <a:xfrm>
            <a:off x="107504" y="3405055"/>
            <a:ext cx="2767482" cy="1291657"/>
          </a:xfrm>
          <a:prstGeom prst="rect">
            <a:avLst/>
          </a:prstGeom>
          <a:noFill/>
          <a:ln w="63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>
              <a:solidFill>
                <a:prstClr val="white"/>
              </a:solidFill>
            </a:endParaRPr>
          </a:p>
        </p:txBody>
      </p:sp>
      <p:sp>
        <p:nvSpPr>
          <p:cNvPr id="24" name="TekstSylinder 23"/>
          <p:cNvSpPr txBox="1"/>
          <p:nvPr/>
        </p:nvSpPr>
        <p:spPr>
          <a:xfrm>
            <a:off x="190635" y="3607577"/>
            <a:ext cx="2880320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ü"/>
            </a:pPr>
            <a:r>
              <a:rPr lang="nb-NO" sz="1100" dirty="0" smtClean="0">
                <a:solidFill>
                  <a:prstClr val="black"/>
                </a:solidFill>
              </a:rPr>
              <a:t>Slutta på hn.no</a:t>
            </a:r>
            <a:endParaRPr lang="nb-NO" sz="1100" dirty="0">
              <a:solidFill>
                <a:prstClr val="black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nb-NO" sz="1100" dirty="0">
                <a:solidFill>
                  <a:prstClr val="black"/>
                </a:solidFill>
              </a:rPr>
              <a:t>h</a:t>
            </a:r>
            <a:r>
              <a:rPr lang="nb-NO" sz="1100" dirty="0" smtClean="0">
                <a:solidFill>
                  <a:prstClr val="black"/>
                </a:solidFill>
              </a:rPr>
              <a:t>elfo.no</a:t>
            </a:r>
            <a:endParaRPr lang="nb-NO" sz="1100" dirty="0">
              <a:solidFill>
                <a:prstClr val="black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nb-NO" sz="1100" dirty="0">
                <a:solidFill>
                  <a:prstClr val="black"/>
                </a:solidFill>
              </a:rPr>
              <a:t>ehelse.no </a:t>
            </a:r>
            <a:endParaRPr lang="nb-NO" sz="1100" dirty="0" smtClean="0">
              <a:solidFill>
                <a:prstClr val="black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nb-NO" sz="1100" dirty="0">
                <a:solidFill>
                  <a:prstClr val="black"/>
                </a:solidFill>
              </a:rPr>
              <a:t>n</a:t>
            </a:r>
            <a:r>
              <a:rPr lang="nb-NO" sz="1100" dirty="0" smtClean="0">
                <a:solidFill>
                  <a:prstClr val="black"/>
                </a:solidFill>
              </a:rPr>
              <a:t>yemetoder.no</a:t>
            </a:r>
            <a:endParaRPr lang="nb-NO" sz="1100" dirty="0">
              <a:solidFill>
                <a:prstClr val="black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nb-NO" sz="1100" dirty="0">
                <a:solidFill>
                  <a:prstClr val="black"/>
                </a:solidFill>
              </a:rPr>
              <a:t>h</a:t>
            </a:r>
            <a:r>
              <a:rPr lang="nb-NO" sz="1100" dirty="0" smtClean="0">
                <a:solidFill>
                  <a:prstClr val="black"/>
                </a:solidFill>
              </a:rPr>
              <a:t>elsedirektoratet.no</a:t>
            </a:r>
          </a:p>
          <a:p>
            <a:pPr marL="285750" indent="-285750">
              <a:buFont typeface="Wingdings" panose="05000000000000000000" pitchFamily="2" charset="2"/>
              <a:buChar char="q"/>
            </a:pPr>
            <a:r>
              <a:rPr lang="nb-NO" sz="1100" dirty="0" smtClean="0">
                <a:solidFill>
                  <a:prstClr val="black"/>
                </a:solidFill>
              </a:rPr>
              <a:t>spesialisthelsetjenesten (Midt)</a:t>
            </a:r>
          </a:p>
        </p:txBody>
      </p:sp>
      <p:sp>
        <p:nvSpPr>
          <p:cNvPr id="25" name="TekstSylinder 24"/>
          <p:cNvSpPr txBox="1"/>
          <p:nvPr/>
        </p:nvSpPr>
        <p:spPr>
          <a:xfrm>
            <a:off x="118470" y="3409782"/>
            <a:ext cx="2457310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500" b="1" dirty="0" smtClean="0">
                <a:solidFill>
                  <a:schemeClr val="tx2"/>
                </a:solidFill>
              </a:rPr>
              <a:t>Portaler på plattformen</a:t>
            </a:r>
            <a:endParaRPr lang="nb-NO" sz="1500" b="1" dirty="0">
              <a:solidFill>
                <a:schemeClr val="tx2"/>
              </a:solidFill>
            </a:endParaRPr>
          </a:p>
        </p:txBody>
      </p:sp>
      <p:sp>
        <p:nvSpPr>
          <p:cNvPr id="26" name="TekstSylinder 25"/>
          <p:cNvSpPr txBox="1"/>
          <p:nvPr/>
        </p:nvSpPr>
        <p:spPr>
          <a:xfrm>
            <a:off x="3036382" y="3405056"/>
            <a:ext cx="290376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400" b="1" dirty="0" smtClean="0">
                <a:solidFill>
                  <a:schemeClr val="tx2"/>
                </a:solidFill>
              </a:rPr>
              <a:t>Forprosjekter - samarbeidsområder</a:t>
            </a:r>
            <a:endParaRPr lang="nb-NO" sz="1400" b="1" dirty="0">
              <a:solidFill>
                <a:schemeClr val="tx2"/>
              </a:solidFill>
            </a:endParaRPr>
          </a:p>
        </p:txBody>
      </p:sp>
      <p:sp>
        <p:nvSpPr>
          <p:cNvPr id="28" name="TekstSylinder 27"/>
          <p:cNvSpPr txBox="1"/>
          <p:nvPr/>
        </p:nvSpPr>
        <p:spPr>
          <a:xfrm>
            <a:off x="6259365" y="3405055"/>
            <a:ext cx="231808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400" b="1" dirty="0" smtClean="0">
                <a:solidFill>
                  <a:schemeClr val="tx2"/>
                </a:solidFill>
              </a:rPr>
              <a:t>Velferdsteknologi </a:t>
            </a:r>
          </a:p>
        </p:txBody>
      </p:sp>
      <p:sp>
        <p:nvSpPr>
          <p:cNvPr id="30" name="TekstSylinder 29"/>
          <p:cNvSpPr txBox="1"/>
          <p:nvPr/>
        </p:nvSpPr>
        <p:spPr>
          <a:xfrm>
            <a:off x="161509" y="555526"/>
            <a:ext cx="2965328" cy="28931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300" b="1" dirty="0" smtClean="0">
                <a:solidFill>
                  <a:prstClr val="black"/>
                </a:solidFill>
              </a:rPr>
              <a:t>Digitale tjenester til fastlege: 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nb-NO" sz="1300" dirty="0">
                <a:solidFill>
                  <a:prstClr val="black"/>
                </a:solidFill>
              </a:rPr>
              <a:t>p</a:t>
            </a:r>
            <a:r>
              <a:rPr lang="nb-NO" sz="1300" dirty="0" smtClean="0">
                <a:solidFill>
                  <a:prstClr val="black"/>
                </a:solidFill>
              </a:rPr>
              <a:t>ilot for en EPJ</a:t>
            </a:r>
          </a:p>
          <a:p>
            <a:pPr marL="285750" indent="-285750">
              <a:buFont typeface="Wingdings" panose="05000000000000000000" pitchFamily="2" charset="2"/>
              <a:buChar char="q"/>
            </a:pPr>
            <a:r>
              <a:rPr lang="nb-NO" sz="1300" dirty="0">
                <a:solidFill>
                  <a:prstClr val="black"/>
                </a:solidFill>
              </a:rPr>
              <a:t>p</a:t>
            </a:r>
            <a:r>
              <a:rPr lang="nb-NO" sz="1300" dirty="0" smtClean="0">
                <a:solidFill>
                  <a:prstClr val="black"/>
                </a:solidFill>
              </a:rPr>
              <a:t>ilot for alle EPJ</a:t>
            </a:r>
          </a:p>
          <a:p>
            <a:pPr marL="285750" indent="-285750">
              <a:buFont typeface="Wingdings" panose="05000000000000000000" pitchFamily="2" charset="2"/>
              <a:buChar char="q"/>
            </a:pPr>
            <a:r>
              <a:rPr lang="nb-NO" sz="1300" dirty="0" smtClean="0">
                <a:solidFill>
                  <a:prstClr val="black"/>
                </a:solidFill>
              </a:rPr>
              <a:t>90 kontorer har innført</a:t>
            </a:r>
          </a:p>
          <a:p>
            <a:endParaRPr lang="nb-NO" sz="1300" dirty="0" smtClean="0">
              <a:solidFill>
                <a:prstClr val="black"/>
              </a:solidFill>
            </a:endParaRPr>
          </a:p>
          <a:p>
            <a:r>
              <a:rPr lang="nb-NO" sz="1300" b="1" dirty="0" smtClean="0">
                <a:solidFill>
                  <a:prstClr val="black"/>
                </a:solidFill>
              </a:rPr>
              <a:t>Valg av behandler:</a:t>
            </a:r>
          </a:p>
          <a:p>
            <a:pPr marL="285750" indent="-285750">
              <a:buFont typeface="Wingdings" panose="05000000000000000000" pitchFamily="2" charset="2"/>
              <a:buChar char="q"/>
            </a:pPr>
            <a:r>
              <a:rPr lang="nb-NO" sz="1300" dirty="0">
                <a:solidFill>
                  <a:prstClr val="black"/>
                </a:solidFill>
              </a:rPr>
              <a:t>b</a:t>
            </a:r>
            <a:r>
              <a:rPr lang="nb-NO" sz="1300" dirty="0" smtClean="0">
                <a:solidFill>
                  <a:prstClr val="black"/>
                </a:solidFill>
              </a:rPr>
              <a:t>ytt fastlege</a:t>
            </a:r>
            <a:r>
              <a:rPr lang="nb-NO" sz="1300" dirty="0">
                <a:solidFill>
                  <a:prstClr val="black"/>
                </a:solidFill>
              </a:rPr>
              <a:t> </a:t>
            </a:r>
            <a:r>
              <a:rPr lang="nb-NO" sz="1300" dirty="0" smtClean="0">
                <a:solidFill>
                  <a:prstClr val="black"/>
                </a:solidFill>
              </a:rPr>
              <a:t>i Min helse</a:t>
            </a:r>
          </a:p>
          <a:p>
            <a:pPr marL="285750" indent="-285750">
              <a:buFont typeface="Wingdings" panose="05000000000000000000" pitchFamily="2" charset="2"/>
              <a:buChar char="q"/>
            </a:pPr>
            <a:r>
              <a:rPr lang="nb-NO" sz="1300" dirty="0">
                <a:solidFill>
                  <a:prstClr val="black"/>
                </a:solidFill>
              </a:rPr>
              <a:t>v</a:t>
            </a:r>
            <a:r>
              <a:rPr lang="nb-NO" sz="1300" dirty="0" smtClean="0">
                <a:solidFill>
                  <a:prstClr val="black"/>
                </a:solidFill>
              </a:rPr>
              <a:t>elg behandlingssted</a:t>
            </a:r>
          </a:p>
          <a:p>
            <a:pPr marL="285750" indent="-285750">
              <a:buFont typeface="Wingdings" panose="05000000000000000000" pitchFamily="2" charset="2"/>
              <a:buChar char="q"/>
            </a:pPr>
            <a:endParaRPr lang="nb-NO" sz="1300" dirty="0">
              <a:solidFill>
                <a:prstClr val="black"/>
              </a:solidFill>
            </a:endParaRPr>
          </a:p>
          <a:p>
            <a:r>
              <a:rPr lang="nb-NO" sz="1300" b="1" dirty="0">
                <a:solidFill>
                  <a:prstClr val="black"/>
                </a:solidFill>
              </a:rPr>
              <a:t>Min h</a:t>
            </a:r>
            <a:r>
              <a:rPr lang="nb-NO" sz="1300" b="1" dirty="0" smtClean="0">
                <a:solidFill>
                  <a:prstClr val="black"/>
                </a:solidFill>
              </a:rPr>
              <a:t>else kjernejournal: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nb-NO" sz="1300" dirty="0" smtClean="0">
                <a:solidFill>
                  <a:prstClr val="black"/>
                </a:solidFill>
              </a:rPr>
              <a:t>bestille kjernejournal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nb-NO" sz="1300" dirty="0">
                <a:solidFill>
                  <a:prstClr val="black"/>
                </a:solidFill>
              </a:rPr>
              <a:t>r</a:t>
            </a:r>
            <a:r>
              <a:rPr lang="nb-NO" sz="1300" dirty="0" smtClean="0">
                <a:solidFill>
                  <a:prstClr val="black"/>
                </a:solidFill>
              </a:rPr>
              <a:t>esepter legemidler/handelsvarer</a:t>
            </a:r>
            <a:endParaRPr lang="nb-NO" sz="1300" dirty="0">
              <a:solidFill>
                <a:prstClr val="black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nb-NO" sz="1300" dirty="0" smtClean="0">
                <a:solidFill>
                  <a:prstClr val="black"/>
                </a:solidFill>
              </a:rPr>
              <a:t>kontaktinfo </a:t>
            </a:r>
            <a:r>
              <a:rPr lang="nb-NO" sz="1300" dirty="0">
                <a:solidFill>
                  <a:prstClr val="black"/>
                </a:solidFill>
              </a:rPr>
              <a:t>fra </a:t>
            </a:r>
            <a:r>
              <a:rPr lang="nb-NO" sz="1300" dirty="0" smtClean="0">
                <a:solidFill>
                  <a:prstClr val="black"/>
                </a:solidFill>
              </a:rPr>
              <a:t>DIFI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nb-NO" sz="1300" dirty="0" smtClean="0">
                <a:solidFill>
                  <a:prstClr val="black"/>
                </a:solidFill>
              </a:rPr>
              <a:t>varselprofil</a:t>
            </a:r>
            <a:endParaRPr lang="nb-NO" sz="1300" dirty="0">
              <a:solidFill>
                <a:prstClr val="black"/>
              </a:solidFill>
            </a:endParaRPr>
          </a:p>
        </p:txBody>
      </p:sp>
      <p:sp>
        <p:nvSpPr>
          <p:cNvPr id="31" name="Rektangel 30"/>
          <p:cNvSpPr/>
          <p:nvPr/>
        </p:nvSpPr>
        <p:spPr>
          <a:xfrm>
            <a:off x="6228184" y="3417377"/>
            <a:ext cx="2736304" cy="1283822"/>
          </a:xfrm>
          <a:prstGeom prst="rect">
            <a:avLst/>
          </a:prstGeom>
          <a:noFill/>
          <a:ln w="63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>
              <a:solidFill>
                <a:prstClr val="white"/>
              </a:solidFill>
            </a:endParaRPr>
          </a:p>
        </p:txBody>
      </p:sp>
      <p:sp>
        <p:nvSpPr>
          <p:cNvPr id="32" name="TekstSylinder 31"/>
          <p:cNvSpPr txBox="1"/>
          <p:nvPr/>
        </p:nvSpPr>
        <p:spPr>
          <a:xfrm>
            <a:off x="6245401" y="782517"/>
            <a:ext cx="2856808" cy="270843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300" b="1" dirty="0" smtClean="0">
                <a:solidFill>
                  <a:prstClr val="black"/>
                </a:solidFill>
              </a:rPr>
              <a:t>Helse Vest: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nb-NO" sz="1300" dirty="0">
                <a:solidFill>
                  <a:prstClr val="black"/>
                </a:solidFill>
              </a:rPr>
              <a:t>henvisningsstatus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nb-NO" sz="1300" dirty="0" smtClean="0">
                <a:solidFill>
                  <a:prstClr val="black"/>
                </a:solidFill>
              </a:rPr>
              <a:t>innkallingsbrev</a:t>
            </a:r>
          </a:p>
          <a:p>
            <a:pPr marL="285750" indent="-285750">
              <a:buFont typeface="Wingdings" panose="05000000000000000000" pitchFamily="2" charset="2"/>
              <a:buChar char="q"/>
            </a:pPr>
            <a:r>
              <a:rPr lang="nb-NO" sz="1300" dirty="0" smtClean="0">
                <a:solidFill>
                  <a:prstClr val="black"/>
                </a:solidFill>
              </a:rPr>
              <a:t>meldinger pasient/behandler</a:t>
            </a:r>
          </a:p>
          <a:p>
            <a:endParaRPr lang="nb-NO" sz="1300" b="1" dirty="0" smtClean="0">
              <a:solidFill>
                <a:prstClr val="black"/>
              </a:solidFill>
            </a:endParaRPr>
          </a:p>
          <a:p>
            <a:r>
              <a:rPr lang="nb-NO" sz="1300" b="1" dirty="0" smtClean="0">
                <a:solidFill>
                  <a:prstClr val="black"/>
                </a:solidFill>
              </a:rPr>
              <a:t>Helse Nord:</a:t>
            </a:r>
          </a:p>
          <a:p>
            <a:pPr marL="285750" indent="-285750">
              <a:buFont typeface="Wingdings" panose="05000000000000000000" pitchFamily="2" charset="2"/>
              <a:buChar char="q"/>
            </a:pPr>
            <a:r>
              <a:rPr lang="nb-NO" sz="1300" dirty="0">
                <a:solidFill>
                  <a:prstClr val="black"/>
                </a:solidFill>
              </a:rPr>
              <a:t>innsyn </a:t>
            </a:r>
            <a:r>
              <a:rPr lang="nb-NO" sz="1300" dirty="0" smtClean="0">
                <a:solidFill>
                  <a:prstClr val="black"/>
                </a:solidFill>
              </a:rPr>
              <a:t>journal innført alle HF</a:t>
            </a:r>
            <a:endParaRPr lang="nb-NO" sz="1300" dirty="0">
              <a:solidFill>
                <a:prstClr val="black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q"/>
            </a:pPr>
            <a:r>
              <a:rPr lang="nb-NO" sz="1300" dirty="0" smtClean="0">
                <a:solidFill>
                  <a:prstClr val="black"/>
                </a:solidFill>
              </a:rPr>
              <a:t>timeavtaler/henvisningsstatus</a:t>
            </a:r>
          </a:p>
          <a:p>
            <a:pPr marL="285750" indent="-285750">
              <a:buFont typeface="Wingdings" panose="05000000000000000000" pitchFamily="2" charset="2"/>
              <a:buChar char="q"/>
            </a:pPr>
            <a:r>
              <a:rPr lang="nb-NO" sz="1300" dirty="0" smtClean="0">
                <a:solidFill>
                  <a:prstClr val="black"/>
                </a:solidFill>
              </a:rPr>
              <a:t>meldinger </a:t>
            </a:r>
            <a:r>
              <a:rPr lang="nb-NO" sz="1300" dirty="0">
                <a:solidFill>
                  <a:prstClr val="black"/>
                </a:solidFill>
              </a:rPr>
              <a:t>pasient/behandler</a:t>
            </a:r>
          </a:p>
          <a:p>
            <a:endParaRPr lang="nb-NO" sz="1300" b="1" dirty="0" smtClean="0">
              <a:solidFill>
                <a:prstClr val="black"/>
              </a:solidFill>
            </a:endParaRPr>
          </a:p>
          <a:p>
            <a:r>
              <a:rPr lang="nb-NO" sz="1300" b="1" dirty="0" smtClean="0">
                <a:solidFill>
                  <a:prstClr val="black"/>
                </a:solidFill>
              </a:rPr>
              <a:t>Mine pasientreiser (HSØ):</a:t>
            </a:r>
          </a:p>
          <a:p>
            <a:pPr marL="285750" indent="-285750">
              <a:buFont typeface="Wingdings" panose="05000000000000000000" pitchFamily="2" charset="2"/>
              <a:buChar char="q"/>
            </a:pPr>
            <a:r>
              <a:rPr lang="nb-NO" sz="1300" dirty="0" smtClean="0">
                <a:solidFill>
                  <a:prstClr val="black"/>
                </a:solidFill>
              </a:rPr>
              <a:t>selvbetjening refusjon utviklet</a:t>
            </a:r>
          </a:p>
          <a:p>
            <a:endParaRPr lang="nb-NO" sz="1400" dirty="0">
              <a:solidFill>
                <a:prstClr val="black"/>
              </a:solidFill>
            </a:endParaRPr>
          </a:p>
        </p:txBody>
      </p:sp>
      <p:sp>
        <p:nvSpPr>
          <p:cNvPr id="34" name="Rektangel 33"/>
          <p:cNvSpPr/>
          <p:nvPr/>
        </p:nvSpPr>
        <p:spPr>
          <a:xfrm>
            <a:off x="2987824" y="3406244"/>
            <a:ext cx="3096344" cy="1294956"/>
          </a:xfrm>
          <a:prstGeom prst="rect">
            <a:avLst/>
          </a:prstGeom>
          <a:noFill/>
          <a:ln w="63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>
              <a:solidFill>
                <a:prstClr val="white"/>
              </a:solidFill>
            </a:endParaRPr>
          </a:p>
        </p:txBody>
      </p:sp>
      <p:sp>
        <p:nvSpPr>
          <p:cNvPr id="37" name="TekstSylinder 36"/>
          <p:cNvSpPr txBox="1"/>
          <p:nvPr/>
        </p:nvSpPr>
        <p:spPr>
          <a:xfrm>
            <a:off x="6282386" y="3595975"/>
            <a:ext cx="2970134" cy="9387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q"/>
            </a:pPr>
            <a:r>
              <a:rPr lang="nb-NO" sz="1100" dirty="0" err="1">
                <a:solidFill>
                  <a:prstClr val="black"/>
                </a:solidFill>
              </a:rPr>
              <a:t>h</a:t>
            </a:r>
            <a:r>
              <a:rPr lang="nb-NO" sz="1100" dirty="0" err="1" smtClean="0">
                <a:solidFill>
                  <a:prstClr val="black"/>
                </a:solidFill>
              </a:rPr>
              <a:t>elseapp</a:t>
            </a:r>
            <a:r>
              <a:rPr lang="nb-NO" sz="1100" dirty="0" smtClean="0">
                <a:solidFill>
                  <a:prstClr val="black"/>
                </a:solidFill>
              </a:rPr>
              <a:t>-meny på </a:t>
            </a:r>
            <a:br>
              <a:rPr lang="nb-NO" sz="1100" dirty="0" smtClean="0">
                <a:solidFill>
                  <a:prstClr val="black"/>
                </a:solidFill>
              </a:rPr>
            </a:br>
            <a:r>
              <a:rPr lang="nb-NO" sz="1100" dirty="0" smtClean="0">
                <a:solidFill>
                  <a:prstClr val="black"/>
                </a:solidFill>
              </a:rPr>
              <a:t>hn.no</a:t>
            </a:r>
          </a:p>
          <a:p>
            <a:pPr marL="285750" indent="-285750">
              <a:buFont typeface="Wingdings" panose="05000000000000000000" pitchFamily="2" charset="2"/>
              <a:buChar char="q"/>
            </a:pPr>
            <a:r>
              <a:rPr lang="en-US" sz="1100" dirty="0" err="1">
                <a:solidFill>
                  <a:srgbClr val="000000"/>
                </a:solidFill>
              </a:rPr>
              <a:t>e</a:t>
            </a:r>
            <a:r>
              <a:rPr lang="en-US" sz="1100" dirty="0" err="1" smtClean="0">
                <a:solidFill>
                  <a:srgbClr val="000000"/>
                </a:solidFill>
              </a:rPr>
              <a:t>tablert</a:t>
            </a:r>
            <a:r>
              <a:rPr lang="en-US" sz="1100" dirty="0" smtClean="0">
                <a:solidFill>
                  <a:srgbClr val="000000"/>
                </a:solidFill>
              </a:rPr>
              <a:t> Continua </a:t>
            </a:r>
            <a:r>
              <a:rPr lang="en-US" sz="1100" dirty="0">
                <a:solidFill>
                  <a:srgbClr val="000000"/>
                </a:solidFill>
              </a:rPr>
              <a:t>Service </a:t>
            </a:r>
            <a:r>
              <a:rPr lang="en-US" sz="1100" dirty="0" smtClean="0">
                <a:solidFill>
                  <a:srgbClr val="000000"/>
                </a:solidFill>
              </a:rPr>
              <a:t/>
            </a:r>
            <a:br>
              <a:rPr lang="en-US" sz="1100" dirty="0" smtClean="0">
                <a:solidFill>
                  <a:srgbClr val="000000"/>
                </a:solidFill>
              </a:rPr>
            </a:br>
            <a:r>
              <a:rPr lang="en-US" sz="1100" dirty="0" smtClean="0">
                <a:solidFill>
                  <a:srgbClr val="000000"/>
                </a:solidFill>
              </a:rPr>
              <a:t>Center Norway</a:t>
            </a:r>
          </a:p>
          <a:p>
            <a:pPr marL="285750" indent="-285750">
              <a:buFont typeface="Wingdings" panose="05000000000000000000" pitchFamily="2" charset="2"/>
              <a:buChar char="q"/>
            </a:pPr>
            <a:r>
              <a:rPr lang="en-US" sz="1100" dirty="0" err="1" smtClean="0">
                <a:solidFill>
                  <a:srgbClr val="000000"/>
                </a:solidFill>
              </a:rPr>
              <a:t>Referansearkitektur</a:t>
            </a:r>
            <a:r>
              <a:rPr lang="en-US" sz="1100" dirty="0" smtClean="0">
                <a:solidFill>
                  <a:srgbClr val="000000"/>
                </a:solidFill>
              </a:rPr>
              <a:t> </a:t>
            </a:r>
            <a:r>
              <a:rPr lang="nb-NO" sz="1100" dirty="0" smtClean="0">
                <a:solidFill>
                  <a:srgbClr val="000000"/>
                </a:solidFill>
              </a:rPr>
              <a:t>for </a:t>
            </a:r>
            <a:r>
              <a:rPr lang="nb-NO" sz="1100" dirty="0" err="1" smtClean="0">
                <a:solidFill>
                  <a:srgbClr val="000000"/>
                </a:solidFill>
              </a:rPr>
              <a:t>velferdsteknologi</a:t>
            </a:r>
            <a:endParaRPr lang="nb-NO" sz="1100" dirty="0">
              <a:solidFill>
                <a:prstClr val="black"/>
              </a:solidFill>
            </a:endParaRPr>
          </a:p>
        </p:txBody>
      </p:sp>
      <p:sp>
        <p:nvSpPr>
          <p:cNvPr id="38" name="TekstSylinder 37"/>
          <p:cNvSpPr txBox="1"/>
          <p:nvPr/>
        </p:nvSpPr>
        <p:spPr>
          <a:xfrm>
            <a:off x="3042026" y="3757993"/>
            <a:ext cx="3375179" cy="9387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q"/>
            </a:pPr>
            <a:r>
              <a:rPr lang="nb-NO" sz="1100" dirty="0">
                <a:solidFill>
                  <a:prstClr val="black"/>
                </a:solidFill>
              </a:rPr>
              <a:t>s</a:t>
            </a:r>
            <a:r>
              <a:rPr lang="nb-NO" sz="1100" dirty="0" smtClean="0">
                <a:solidFill>
                  <a:prstClr val="black"/>
                </a:solidFill>
              </a:rPr>
              <a:t>trategi og veikart for RHF-ene</a:t>
            </a:r>
          </a:p>
          <a:p>
            <a:pPr marL="285750" indent="-285750">
              <a:buFont typeface="Wingdings" panose="05000000000000000000" pitchFamily="2" charset="2"/>
              <a:buChar char="q"/>
            </a:pPr>
            <a:r>
              <a:rPr lang="nb-NO" sz="1100" dirty="0" err="1" smtClean="0">
                <a:solidFill>
                  <a:prstClr val="black"/>
                </a:solidFill>
              </a:rPr>
              <a:t>livmorhalsprogrammet,reservasjon</a:t>
            </a:r>
            <a:r>
              <a:rPr lang="nb-NO" sz="1100" dirty="0" smtClean="0">
                <a:solidFill>
                  <a:prstClr val="black"/>
                </a:solidFill>
              </a:rPr>
              <a:t>, varsling?</a:t>
            </a:r>
          </a:p>
          <a:p>
            <a:pPr marL="285750" indent="-285750">
              <a:buFont typeface="Wingdings" panose="05000000000000000000" pitchFamily="2" charset="2"/>
              <a:buChar char="q"/>
            </a:pPr>
            <a:r>
              <a:rPr lang="nb-NO" sz="1100" dirty="0">
                <a:solidFill>
                  <a:prstClr val="black"/>
                </a:solidFill>
              </a:rPr>
              <a:t>h</a:t>
            </a:r>
            <a:r>
              <a:rPr lang="nb-NO" sz="1100" dirty="0" smtClean="0">
                <a:solidFill>
                  <a:prstClr val="black"/>
                </a:solidFill>
              </a:rPr>
              <a:t>elsebiblioteket.no på plattformen?</a:t>
            </a:r>
          </a:p>
          <a:p>
            <a:pPr marL="285750" indent="-285750">
              <a:buFont typeface="Wingdings" panose="05000000000000000000" pitchFamily="2" charset="2"/>
              <a:buChar char="q"/>
            </a:pPr>
            <a:r>
              <a:rPr lang="nb-NO" sz="1100" dirty="0" smtClean="0">
                <a:solidFill>
                  <a:prstClr val="black"/>
                </a:solidFill>
              </a:rPr>
              <a:t>Oslo kommune digitale tjenester?</a:t>
            </a:r>
          </a:p>
          <a:p>
            <a:pPr marL="285750" indent="-285750">
              <a:buFont typeface="Wingdings" panose="05000000000000000000" pitchFamily="2" charset="2"/>
              <a:buChar char="q"/>
            </a:pPr>
            <a:r>
              <a:rPr lang="nb-NO" sz="1100" dirty="0">
                <a:solidFill>
                  <a:prstClr val="black"/>
                </a:solidFill>
              </a:rPr>
              <a:t>m</a:t>
            </a:r>
            <a:r>
              <a:rPr lang="nb-NO" sz="1100" dirty="0" smtClean="0">
                <a:solidFill>
                  <a:prstClr val="black"/>
                </a:solidFill>
              </a:rPr>
              <a:t>ed. </a:t>
            </a:r>
            <a:r>
              <a:rPr lang="nb-NO" sz="1100" dirty="0">
                <a:solidFill>
                  <a:prstClr val="black"/>
                </a:solidFill>
              </a:rPr>
              <a:t>f</a:t>
            </a:r>
            <a:r>
              <a:rPr lang="nb-NO" sz="1100" dirty="0" smtClean="0">
                <a:solidFill>
                  <a:prstClr val="black"/>
                </a:solidFill>
              </a:rPr>
              <a:t>aglig redaksjon/oppslagsverk</a:t>
            </a:r>
            <a:endParaRPr lang="nb-NO" sz="1200" dirty="0">
              <a:solidFill>
                <a:prstClr val="black"/>
              </a:solidFill>
            </a:endParaRPr>
          </a:p>
        </p:txBody>
      </p:sp>
      <p:sp>
        <p:nvSpPr>
          <p:cNvPr id="39" name="TekstSylinder 38"/>
          <p:cNvSpPr txBox="1"/>
          <p:nvPr/>
        </p:nvSpPr>
        <p:spPr>
          <a:xfrm>
            <a:off x="3036383" y="1523175"/>
            <a:ext cx="275118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400" b="1" dirty="0" smtClean="0">
                <a:solidFill>
                  <a:schemeClr val="accent2">
                    <a:lumMod val="75000"/>
                  </a:schemeClr>
                </a:solidFill>
              </a:rPr>
              <a:t>Felleskomponenter</a:t>
            </a:r>
            <a:endParaRPr lang="nb-NO" sz="1400" b="1" dirty="0">
              <a:solidFill>
                <a:schemeClr val="accent2">
                  <a:lumMod val="75000"/>
                </a:schemeClr>
              </a:solidFill>
            </a:endParaRPr>
          </a:p>
        </p:txBody>
      </p:sp>
      <p:sp>
        <p:nvSpPr>
          <p:cNvPr id="40" name="Rektangel 39"/>
          <p:cNvSpPr/>
          <p:nvPr/>
        </p:nvSpPr>
        <p:spPr>
          <a:xfrm>
            <a:off x="2987824" y="1502350"/>
            <a:ext cx="3096344" cy="1103154"/>
          </a:xfrm>
          <a:prstGeom prst="rect">
            <a:avLst/>
          </a:prstGeom>
          <a:noFill/>
          <a:ln w="63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>
              <a:solidFill>
                <a:prstClr val="white"/>
              </a:solidFill>
            </a:endParaRPr>
          </a:p>
        </p:txBody>
      </p:sp>
      <p:sp>
        <p:nvSpPr>
          <p:cNvPr id="41" name="TekstSylinder 40"/>
          <p:cNvSpPr txBox="1"/>
          <p:nvPr/>
        </p:nvSpPr>
        <p:spPr>
          <a:xfrm>
            <a:off x="3042026" y="1764054"/>
            <a:ext cx="2826118" cy="8925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ü"/>
            </a:pPr>
            <a:r>
              <a:rPr lang="nb-NO" sz="1300" dirty="0">
                <a:solidFill>
                  <a:prstClr val="black"/>
                </a:solidFill>
              </a:rPr>
              <a:t>p</a:t>
            </a:r>
            <a:r>
              <a:rPr lang="nb-NO" sz="1300" dirty="0" smtClean="0">
                <a:solidFill>
                  <a:prstClr val="black"/>
                </a:solidFill>
              </a:rPr>
              <a:t>ersonlig helsearkiv, MT/ST</a:t>
            </a:r>
            <a:endParaRPr lang="nb-NO" sz="1300" dirty="0">
              <a:solidFill>
                <a:prstClr val="black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q"/>
            </a:pPr>
            <a:r>
              <a:rPr lang="nb-NO" sz="1300" dirty="0">
                <a:solidFill>
                  <a:prstClr val="black"/>
                </a:solidFill>
              </a:rPr>
              <a:t>p</a:t>
            </a:r>
            <a:r>
              <a:rPr lang="nb-NO" sz="1300" dirty="0" smtClean="0">
                <a:solidFill>
                  <a:prstClr val="black"/>
                </a:solidFill>
              </a:rPr>
              <a:t>ersonvern/fullmakt</a:t>
            </a:r>
            <a:endParaRPr lang="nb-NO" sz="1300" dirty="0">
              <a:solidFill>
                <a:prstClr val="black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q"/>
            </a:pPr>
            <a:r>
              <a:rPr lang="nb-NO" sz="1300" dirty="0">
                <a:solidFill>
                  <a:prstClr val="black"/>
                </a:solidFill>
              </a:rPr>
              <a:t>s</a:t>
            </a:r>
            <a:r>
              <a:rPr lang="nb-NO" sz="1300" dirty="0" smtClean="0">
                <a:solidFill>
                  <a:prstClr val="black"/>
                </a:solidFill>
              </a:rPr>
              <a:t>kjema</a:t>
            </a:r>
            <a:endParaRPr lang="nb-NO" sz="1300" dirty="0">
              <a:solidFill>
                <a:prstClr val="black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q"/>
            </a:pPr>
            <a:r>
              <a:rPr lang="nb-NO" sz="1300" dirty="0">
                <a:solidFill>
                  <a:prstClr val="black"/>
                </a:solidFill>
              </a:rPr>
              <a:t>n</a:t>
            </a:r>
            <a:r>
              <a:rPr lang="nb-NO" sz="1300" dirty="0" smtClean="0">
                <a:solidFill>
                  <a:prstClr val="black"/>
                </a:solidFill>
              </a:rPr>
              <a:t>y bank-id for mobil</a:t>
            </a:r>
            <a:endParaRPr lang="nb-NO" sz="1600" dirty="0">
              <a:solidFill>
                <a:prstClr val="black"/>
              </a:solidFill>
            </a:endParaRPr>
          </a:p>
        </p:txBody>
      </p:sp>
      <p:sp>
        <p:nvSpPr>
          <p:cNvPr id="43" name="TekstSylinder 42"/>
          <p:cNvSpPr txBox="1"/>
          <p:nvPr/>
        </p:nvSpPr>
        <p:spPr>
          <a:xfrm>
            <a:off x="3059844" y="2678828"/>
            <a:ext cx="322736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400" b="1" dirty="0" smtClean="0">
                <a:solidFill>
                  <a:schemeClr val="tx2"/>
                </a:solidFill>
              </a:rPr>
              <a:t>Besøk i : 950 000/</a:t>
            </a:r>
            <a:r>
              <a:rPr lang="nb-NO" sz="1400" b="1" dirty="0" err="1" smtClean="0">
                <a:solidFill>
                  <a:schemeClr val="tx2"/>
                </a:solidFill>
              </a:rPr>
              <a:t>mnd</a:t>
            </a:r>
            <a:endParaRPr lang="nb-NO" sz="1400" b="1" dirty="0" smtClean="0">
              <a:solidFill>
                <a:schemeClr val="tx2"/>
              </a:solidFill>
            </a:endParaRPr>
          </a:p>
        </p:txBody>
      </p:sp>
      <p:sp>
        <p:nvSpPr>
          <p:cNvPr id="45" name="Rektangel 44"/>
          <p:cNvSpPr/>
          <p:nvPr/>
        </p:nvSpPr>
        <p:spPr>
          <a:xfrm>
            <a:off x="2987824" y="2678829"/>
            <a:ext cx="3096344" cy="270031"/>
          </a:xfrm>
          <a:prstGeom prst="rect">
            <a:avLst/>
          </a:prstGeom>
          <a:noFill/>
          <a:ln w="63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>
              <a:solidFill>
                <a:prstClr val="white"/>
              </a:solidFill>
            </a:endParaRPr>
          </a:p>
        </p:txBody>
      </p:sp>
      <p:sp>
        <p:nvSpPr>
          <p:cNvPr id="35" name="Rektangel 34"/>
          <p:cNvSpPr/>
          <p:nvPr/>
        </p:nvSpPr>
        <p:spPr>
          <a:xfrm>
            <a:off x="107504" y="555526"/>
            <a:ext cx="8856984" cy="2800023"/>
          </a:xfrm>
          <a:prstGeom prst="rect">
            <a:avLst/>
          </a:prstGeom>
          <a:noFill/>
          <a:ln w="63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>
              <a:solidFill>
                <a:prstClr val="white"/>
              </a:solidFill>
            </a:endParaRPr>
          </a:p>
        </p:txBody>
      </p:sp>
      <p:sp>
        <p:nvSpPr>
          <p:cNvPr id="53" name="Tittel 1030"/>
          <p:cNvSpPr txBox="1">
            <a:spLocks/>
          </p:cNvSpPr>
          <p:nvPr/>
        </p:nvSpPr>
        <p:spPr bwMode="auto">
          <a:xfrm>
            <a:off x="161510" y="40219"/>
            <a:ext cx="8901793" cy="7024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333333"/>
                </a:solidFill>
                <a:latin typeface="+mj-lt"/>
                <a:ea typeface="ＭＳ Ｐゴシック"/>
                <a:cs typeface="ＭＳ Ｐゴシック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425C"/>
                </a:solidFill>
                <a:latin typeface="Arial" pitchFamily="-109" charset="0"/>
                <a:ea typeface="ＭＳ Ｐゴシック"/>
                <a:cs typeface="ＭＳ Ｐゴシック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425C"/>
                </a:solidFill>
                <a:latin typeface="Arial" pitchFamily="-109" charset="0"/>
                <a:ea typeface="ＭＳ Ｐゴシック"/>
                <a:cs typeface="ＭＳ Ｐゴシック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425C"/>
                </a:solidFill>
                <a:latin typeface="Arial" pitchFamily="-109" charset="0"/>
                <a:ea typeface="ＭＳ Ｐゴシック"/>
                <a:cs typeface="ＭＳ Ｐゴシック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425C"/>
                </a:solidFill>
                <a:latin typeface="Arial" pitchFamily="-109" charset="0"/>
                <a:ea typeface="ＭＳ Ｐゴシック"/>
                <a:cs typeface="ＭＳ Ｐゴシック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3500" b="1">
                <a:solidFill>
                  <a:srgbClr val="00425C"/>
                </a:solidFill>
                <a:latin typeface="Arial" pitchFamily="-109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3500" b="1">
                <a:solidFill>
                  <a:srgbClr val="00425C"/>
                </a:solidFill>
                <a:latin typeface="Arial" pitchFamily="-109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3500" b="1">
                <a:solidFill>
                  <a:srgbClr val="00425C"/>
                </a:solidFill>
                <a:latin typeface="Arial" pitchFamily="-109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3500" b="1">
                <a:solidFill>
                  <a:srgbClr val="00425C"/>
                </a:solidFill>
                <a:latin typeface="Arial" pitchFamily="-109" charset="0"/>
              </a:defRPr>
            </a:lvl9pPr>
          </a:lstStyle>
          <a:p>
            <a:r>
              <a:rPr lang="nb-NO" kern="0" dirty="0" smtClean="0"/>
              <a:t>Mål i 2015 for Digitale innbyggertjenester</a:t>
            </a:r>
          </a:p>
        </p:txBody>
      </p:sp>
      <p:pic>
        <p:nvPicPr>
          <p:cNvPr id="2" name="Bilde 1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83248" y="852851"/>
            <a:ext cx="1888245" cy="209941"/>
          </a:xfrm>
          <a:prstGeom prst="rect">
            <a:avLst/>
          </a:prstGeom>
        </p:spPr>
      </p:pic>
      <p:sp>
        <p:nvSpPr>
          <p:cNvPr id="5" name="Rektangel 4"/>
          <p:cNvSpPr/>
          <p:nvPr/>
        </p:nvSpPr>
        <p:spPr bwMode="auto">
          <a:xfrm>
            <a:off x="2987824" y="1154093"/>
            <a:ext cx="3096348" cy="369081"/>
          </a:xfrm>
          <a:prstGeom prst="rect">
            <a:avLst/>
          </a:prstGeom>
          <a:solidFill>
            <a:schemeClr val="tx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b-NO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+mj-lt"/>
            </a:endParaRPr>
          </a:p>
        </p:txBody>
      </p:sp>
      <p:pic>
        <p:nvPicPr>
          <p:cNvPr id="1054" name="Picture 30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81826" y="1152387"/>
            <a:ext cx="1110973" cy="3707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ekstSylinder 5"/>
          <p:cNvSpPr txBox="1"/>
          <p:nvPr/>
        </p:nvSpPr>
        <p:spPr>
          <a:xfrm>
            <a:off x="3036384" y="1194316"/>
            <a:ext cx="198611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dirty="0">
                <a:solidFill>
                  <a:schemeClr val="bg1"/>
                </a:solidFill>
              </a:rPr>
              <a:t>Ny brukerflate</a:t>
            </a:r>
          </a:p>
          <a:p>
            <a:endParaRPr lang="nb-NO" dirty="0" err="1" smtClean="0">
              <a:solidFill>
                <a:schemeClr val="tx2"/>
              </a:solidFill>
              <a:latin typeface="Arial"/>
              <a:cs typeface="Arial"/>
            </a:endParaRPr>
          </a:p>
        </p:txBody>
      </p:sp>
      <p:sp>
        <p:nvSpPr>
          <p:cNvPr id="7" name="Likebent trekant 6"/>
          <p:cNvSpPr/>
          <p:nvPr/>
        </p:nvSpPr>
        <p:spPr bwMode="auto">
          <a:xfrm rot="10800000" flipH="1">
            <a:off x="5472100" y="1417281"/>
            <a:ext cx="144000" cy="61680"/>
          </a:xfrm>
          <a:prstGeom prst="triangle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b-NO" sz="2400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1807222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kt 1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0853941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348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" name="Gruppe 4"/>
          <p:cNvGrpSpPr/>
          <p:nvPr/>
        </p:nvGrpSpPr>
        <p:grpSpPr>
          <a:xfrm>
            <a:off x="3507611" y="2027619"/>
            <a:ext cx="2160000" cy="2178833"/>
            <a:chOff x="470369" y="1652312"/>
            <a:chExt cx="2160000" cy="2178833"/>
          </a:xfrm>
        </p:grpSpPr>
        <p:pic>
          <p:nvPicPr>
            <p:cNvPr id="6" name="Picture 2" descr="C:\Users\LISKJ\Desktop\Bilde1.png"/>
            <p:cNvPicPr>
              <a:picLocks noChangeAspect="1" noChangeArrowheads="1"/>
            </p:cNvPicPr>
            <p:nvPr/>
          </p:nvPicPr>
          <p:blipFill rotWithShape="1"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6759" t="19182" r="26515" b="3682"/>
            <a:stretch/>
          </p:blipFill>
          <p:spPr bwMode="auto">
            <a:xfrm rot="10800000">
              <a:off x="470369" y="1652312"/>
              <a:ext cx="2160000" cy="217883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7" name="TekstSylinder 6"/>
            <p:cNvSpPr txBox="1"/>
            <p:nvPr/>
          </p:nvSpPr>
          <p:spPr>
            <a:xfrm>
              <a:off x="1008472" y="1995686"/>
              <a:ext cx="1115256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914400"/>
              <a:r>
                <a:rPr lang="nb-NO" sz="1200" b="1" dirty="0" smtClean="0">
                  <a:solidFill>
                    <a:prstClr val="black"/>
                  </a:solidFill>
                </a:rPr>
                <a:t>Premissgiver</a:t>
              </a:r>
              <a:endParaRPr lang="nb-NO" sz="1200" b="1" dirty="0">
                <a:solidFill>
                  <a:prstClr val="black"/>
                </a:solidFill>
              </a:endParaRPr>
            </a:p>
          </p:txBody>
        </p:sp>
        <p:sp>
          <p:nvSpPr>
            <p:cNvPr id="8" name="TekstSylinder 7"/>
            <p:cNvSpPr txBox="1"/>
            <p:nvPr/>
          </p:nvSpPr>
          <p:spPr>
            <a:xfrm>
              <a:off x="611560" y="2840936"/>
              <a:ext cx="916414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914400"/>
              <a:r>
                <a:rPr lang="nb-NO" sz="1200" b="1" dirty="0" smtClean="0">
                  <a:solidFill>
                    <a:prstClr val="black"/>
                  </a:solidFill>
                </a:rPr>
                <a:t>Virksomhet</a:t>
              </a:r>
            </a:p>
          </p:txBody>
        </p:sp>
        <p:sp>
          <p:nvSpPr>
            <p:cNvPr id="9" name="TekstSylinder 8"/>
            <p:cNvSpPr txBox="1"/>
            <p:nvPr/>
          </p:nvSpPr>
          <p:spPr>
            <a:xfrm>
              <a:off x="1511265" y="2836157"/>
              <a:ext cx="1064269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914400"/>
              <a:r>
                <a:rPr lang="nb-NO" sz="1200" b="1" dirty="0" smtClean="0">
                  <a:solidFill>
                    <a:prstClr val="black"/>
                  </a:solidFill>
                </a:rPr>
                <a:t>Leverandør</a:t>
              </a:r>
              <a:endParaRPr lang="nb-NO" sz="1200" b="1" dirty="0">
                <a:solidFill>
                  <a:prstClr val="black"/>
                </a:solidFill>
              </a:endParaRPr>
            </a:p>
          </p:txBody>
        </p:sp>
      </p:grpSp>
      <p:cxnSp>
        <p:nvCxnSpPr>
          <p:cNvPr id="19" name="Rett linje 18"/>
          <p:cNvCxnSpPr/>
          <p:nvPr/>
        </p:nvCxnSpPr>
        <p:spPr>
          <a:xfrm flipH="1" flipV="1">
            <a:off x="791580" y="723802"/>
            <a:ext cx="3780300" cy="2357544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Rett linje 30"/>
          <p:cNvCxnSpPr/>
          <p:nvPr/>
        </p:nvCxnSpPr>
        <p:spPr>
          <a:xfrm flipV="1">
            <a:off x="4587611" y="839799"/>
            <a:ext cx="4016837" cy="223224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Rett linje 34"/>
          <p:cNvCxnSpPr/>
          <p:nvPr/>
        </p:nvCxnSpPr>
        <p:spPr>
          <a:xfrm>
            <a:off x="4587611" y="3072047"/>
            <a:ext cx="0" cy="1875967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4" name="Gruppe 43"/>
          <p:cNvGrpSpPr/>
          <p:nvPr/>
        </p:nvGrpSpPr>
        <p:grpSpPr>
          <a:xfrm>
            <a:off x="35141" y="1249527"/>
            <a:ext cx="5606291" cy="3862687"/>
            <a:chOff x="35141" y="1249527"/>
            <a:chExt cx="5606291" cy="3862687"/>
          </a:xfrm>
        </p:grpSpPr>
        <p:sp>
          <p:nvSpPr>
            <p:cNvPr id="185" name="Pil høyre 184"/>
            <p:cNvSpPr/>
            <p:nvPr/>
          </p:nvSpPr>
          <p:spPr>
            <a:xfrm>
              <a:off x="4283966" y="4139678"/>
              <a:ext cx="309095" cy="272643"/>
            </a:xfrm>
            <a:prstGeom prst="rightArrow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/>
              <a:endParaRPr lang="nb-NO">
                <a:solidFill>
                  <a:prstClr val="white"/>
                </a:solidFill>
              </a:endParaRPr>
            </a:p>
          </p:txBody>
        </p:sp>
        <p:sp>
          <p:nvSpPr>
            <p:cNvPr id="200" name="Pil høyre 199"/>
            <p:cNvSpPr/>
            <p:nvPr/>
          </p:nvSpPr>
          <p:spPr>
            <a:xfrm rot="10800000">
              <a:off x="4593062" y="4137936"/>
              <a:ext cx="309095" cy="272643"/>
            </a:xfrm>
            <a:prstGeom prst="rightArrow">
              <a:avLst/>
            </a:prstGeom>
            <a:solidFill>
              <a:schemeClr val="accent3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/>
              <a:endParaRPr lang="nb-NO">
                <a:solidFill>
                  <a:prstClr val="white"/>
                </a:solidFill>
              </a:endParaRPr>
            </a:p>
          </p:txBody>
        </p:sp>
        <p:sp>
          <p:nvSpPr>
            <p:cNvPr id="268" name="TekstSylinder 170"/>
            <p:cNvSpPr txBox="1"/>
            <p:nvPr/>
          </p:nvSpPr>
          <p:spPr>
            <a:xfrm>
              <a:off x="3648802" y="4876006"/>
              <a:ext cx="1859302" cy="236208"/>
            </a:xfrm>
            <a:prstGeom prst="rect">
              <a:avLst/>
            </a:prstGeom>
            <a:gradFill>
              <a:gsLst>
                <a:gs pos="0">
                  <a:schemeClr val="accent1"/>
                </a:gs>
                <a:gs pos="50000">
                  <a:schemeClr val="accent1"/>
                </a:gs>
                <a:gs pos="51000">
                  <a:schemeClr val="accent4"/>
                </a:gs>
                <a:gs pos="52000">
                  <a:schemeClr val="accent3"/>
                </a:gs>
              </a:gsLst>
              <a:lin ang="0" scaled="0"/>
            </a:gradFill>
            <a:ln>
              <a:solidFill>
                <a:schemeClr val="tx1"/>
              </a:solidFill>
              <a:prstDash val="dash"/>
            </a:ln>
          </p:spPr>
          <p:txBody>
            <a:bodyPr wrap="square" rtlCol="0" anchor="ctr">
              <a:noAutofit/>
            </a:bodyPr>
            <a:lstStyle/>
            <a:p>
              <a:pPr algn="ctr" defTabSz="914400"/>
              <a:r>
                <a:rPr lang="nb-NO" sz="1600" dirty="0" smtClean="0">
                  <a:solidFill>
                    <a:prstClr val="black"/>
                  </a:solidFill>
                </a:rPr>
                <a:t>Endringsråd</a:t>
              </a:r>
              <a:endParaRPr lang="nb-NO" sz="1600" dirty="0">
                <a:solidFill>
                  <a:prstClr val="black"/>
                </a:solidFill>
              </a:endParaRPr>
            </a:p>
          </p:txBody>
        </p:sp>
        <p:sp>
          <p:nvSpPr>
            <p:cNvPr id="286" name="TekstSylinder 55"/>
            <p:cNvSpPr txBox="1"/>
            <p:nvPr/>
          </p:nvSpPr>
          <p:spPr>
            <a:xfrm>
              <a:off x="3648802" y="4587974"/>
              <a:ext cx="1859302" cy="236208"/>
            </a:xfrm>
            <a:prstGeom prst="rect">
              <a:avLst/>
            </a:prstGeom>
            <a:gradFill>
              <a:gsLst>
                <a:gs pos="0">
                  <a:schemeClr val="accent1"/>
                </a:gs>
                <a:gs pos="50000">
                  <a:schemeClr val="accent1"/>
                </a:gs>
                <a:gs pos="51000">
                  <a:schemeClr val="accent4"/>
                </a:gs>
                <a:gs pos="52000">
                  <a:schemeClr val="accent3"/>
                </a:gs>
              </a:gsLst>
              <a:lin ang="0" scaled="0"/>
            </a:gradFill>
            <a:ln>
              <a:solidFill>
                <a:schemeClr val="tx1"/>
              </a:solidFill>
              <a:prstDash val="dash"/>
            </a:ln>
          </p:spPr>
          <p:txBody>
            <a:bodyPr wrap="square" rtlCol="0" anchor="ctr">
              <a:noAutofit/>
            </a:bodyPr>
            <a:lstStyle/>
            <a:p>
              <a:pPr algn="ctr" defTabSz="914400"/>
              <a:r>
                <a:rPr lang="nb-NO" sz="1600" dirty="0" smtClean="0">
                  <a:solidFill>
                    <a:prstClr val="black"/>
                  </a:solidFill>
                </a:rPr>
                <a:t>Prosjekter</a:t>
              </a:r>
              <a:endParaRPr lang="nb-NO" sz="1600" dirty="0">
                <a:solidFill>
                  <a:prstClr val="black"/>
                </a:solidFill>
              </a:endParaRPr>
            </a:p>
          </p:txBody>
        </p:sp>
        <p:sp>
          <p:nvSpPr>
            <p:cNvPr id="287" name="TekstSylinder 171"/>
            <p:cNvSpPr txBox="1"/>
            <p:nvPr/>
          </p:nvSpPr>
          <p:spPr>
            <a:xfrm>
              <a:off x="4902157" y="4165948"/>
              <a:ext cx="739275" cy="200055"/>
            </a:xfrm>
            <a:prstGeom prst="rect">
              <a:avLst/>
            </a:prstGeom>
            <a:noFill/>
            <a:ln>
              <a:solidFill>
                <a:schemeClr val="tx1"/>
              </a:solidFill>
            </a:ln>
          </p:spPr>
          <p:txBody>
            <a:bodyPr wrap="square" rtlCol="0" anchor="ctr">
              <a:noAutofit/>
            </a:bodyPr>
            <a:lstStyle/>
            <a:p>
              <a:pPr algn="ctr" defTabSz="914400"/>
              <a:r>
                <a:rPr lang="nb-NO" sz="900" b="1" dirty="0" smtClean="0">
                  <a:solidFill>
                    <a:prstClr val="black"/>
                  </a:solidFill>
                </a:rPr>
                <a:t>Leverandør</a:t>
              </a:r>
              <a:endParaRPr lang="nb-NO" sz="900" b="1" dirty="0">
                <a:solidFill>
                  <a:prstClr val="black"/>
                </a:solidFill>
              </a:endParaRPr>
            </a:p>
          </p:txBody>
        </p:sp>
        <p:sp>
          <p:nvSpPr>
            <p:cNvPr id="288" name="TekstSylinder 56"/>
            <p:cNvSpPr txBox="1"/>
            <p:nvPr/>
          </p:nvSpPr>
          <p:spPr>
            <a:xfrm>
              <a:off x="4237160" y="4159022"/>
              <a:ext cx="724664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914400"/>
              <a:r>
                <a:rPr lang="nb-NO" sz="1100" dirty="0" smtClean="0">
                  <a:solidFill>
                    <a:prstClr val="black"/>
                  </a:solidFill>
                </a:rPr>
                <a:t>AVTALER</a:t>
              </a:r>
              <a:endParaRPr lang="nb-NO" sz="1100" dirty="0">
                <a:solidFill>
                  <a:prstClr val="black"/>
                </a:solidFill>
              </a:endParaRPr>
            </a:p>
          </p:txBody>
        </p:sp>
        <p:sp>
          <p:nvSpPr>
            <p:cNvPr id="84" name="TekstSylinder 83"/>
            <p:cNvSpPr txBox="1"/>
            <p:nvPr/>
          </p:nvSpPr>
          <p:spPr>
            <a:xfrm>
              <a:off x="35495" y="2388825"/>
              <a:ext cx="3597575" cy="83099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171450" indent="-171450" defTabSz="914400">
                <a:buFont typeface="Arial" panose="020B0604020202020204" pitchFamily="34" charset="0"/>
                <a:buChar char="•"/>
              </a:pPr>
              <a:r>
                <a:rPr lang="nb-NO" sz="800" b="1" dirty="0" smtClean="0">
                  <a:solidFill>
                    <a:prstClr val="black"/>
                  </a:solidFill>
                </a:rPr>
                <a:t>Strategiske IKT behov fremmes gjennom  deltagelse i </a:t>
              </a:r>
              <a:r>
                <a:rPr lang="nb-NO" sz="800" b="1" dirty="0" err="1" smtClean="0">
                  <a:solidFill>
                    <a:prstClr val="black"/>
                  </a:solidFill>
                </a:rPr>
                <a:t>eHelse</a:t>
              </a:r>
              <a:r>
                <a:rPr lang="nb-NO" sz="800" b="1" dirty="0" smtClean="0">
                  <a:solidFill>
                    <a:prstClr val="black"/>
                  </a:solidFill>
                </a:rPr>
                <a:t> styre og utvalg</a:t>
              </a:r>
            </a:p>
            <a:p>
              <a:pPr marL="171450" indent="-171450" defTabSz="914400">
                <a:buFont typeface="Arial" panose="020B0604020202020204" pitchFamily="34" charset="0"/>
                <a:buChar char="•"/>
              </a:pPr>
              <a:r>
                <a:rPr lang="nb-NO" sz="800" b="1" dirty="0">
                  <a:solidFill>
                    <a:prstClr val="black"/>
                  </a:solidFill>
                </a:rPr>
                <a:t>RHF/HF: </a:t>
              </a:r>
              <a:r>
                <a:rPr lang="nb-NO" sz="800" b="1" dirty="0" smtClean="0">
                  <a:solidFill>
                    <a:prstClr val="black"/>
                  </a:solidFill>
                </a:rPr>
                <a:t>mottar mål/krav </a:t>
              </a:r>
              <a:r>
                <a:rPr lang="nb-NO" sz="800" b="1" dirty="0">
                  <a:solidFill>
                    <a:prstClr val="black"/>
                  </a:solidFill>
                </a:rPr>
                <a:t>i oppdragsbrev, </a:t>
              </a:r>
              <a:r>
                <a:rPr lang="nb-NO" sz="800" b="1" dirty="0" smtClean="0">
                  <a:solidFill>
                    <a:prstClr val="black"/>
                  </a:solidFill>
                </a:rPr>
                <a:t>finansieringsrammer (øremerking)</a:t>
              </a:r>
              <a:endParaRPr lang="nb-NO" sz="800" b="1" dirty="0">
                <a:solidFill>
                  <a:prstClr val="black"/>
                </a:solidFill>
              </a:endParaRPr>
            </a:p>
            <a:p>
              <a:pPr marL="171450" indent="-171450" defTabSz="914400">
                <a:buFont typeface="Arial" panose="020B0604020202020204" pitchFamily="34" charset="0"/>
                <a:buChar char="•"/>
              </a:pPr>
              <a:r>
                <a:rPr lang="nb-NO" sz="800" b="1" dirty="0">
                  <a:solidFill>
                    <a:prstClr val="black"/>
                  </a:solidFill>
                </a:rPr>
                <a:t>Kommune: oppdrag i IS 1, stimulere  til utbredelse gjennom finansieringsmodellen første 2 år, forskrift om bruk av fellesløsninger fra år 3 </a:t>
              </a:r>
            </a:p>
            <a:p>
              <a:pPr marL="171450" indent="-171450" defTabSz="914400">
                <a:buFont typeface="Arial" panose="020B0604020202020204" pitchFamily="34" charset="0"/>
                <a:buChar char="•"/>
              </a:pPr>
              <a:r>
                <a:rPr lang="nb-NO" sz="800" b="1" dirty="0" smtClean="0">
                  <a:solidFill>
                    <a:prstClr val="black"/>
                  </a:solidFill>
                </a:rPr>
                <a:t>Virksomhetsplaner gjenspeiler nasjonal </a:t>
              </a:r>
              <a:r>
                <a:rPr lang="nb-NO" sz="800" b="1" dirty="0" err="1" smtClean="0">
                  <a:solidFill>
                    <a:prstClr val="black"/>
                  </a:solidFill>
                </a:rPr>
                <a:t>eHelse</a:t>
              </a:r>
              <a:r>
                <a:rPr lang="nb-NO" sz="800" b="1" dirty="0" smtClean="0">
                  <a:solidFill>
                    <a:prstClr val="black"/>
                  </a:solidFill>
                </a:rPr>
                <a:t> strategi</a:t>
              </a:r>
            </a:p>
            <a:p>
              <a:pPr marL="171450" indent="-171450" defTabSz="914400">
                <a:buFont typeface="Arial" panose="020B0604020202020204" pitchFamily="34" charset="0"/>
                <a:buChar char="•"/>
              </a:pPr>
              <a:r>
                <a:rPr lang="nb-NO" sz="800" b="1" dirty="0" smtClean="0">
                  <a:solidFill>
                    <a:prstClr val="black"/>
                  </a:solidFill>
                </a:rPr>
                <a:t>Rapportering på fremdrift, resultat og effekter</a:t>
              </a:r>
            </a:p>
          </p:txBody>
        </p:sp>
        <p:sp>
          <p:nvSpPr>
            <p:cNvPr id="103" name="TekstSylinder 102"/>
            <p:cNvSpPr txBox="1"/>
            <p:nvPr/>
          </p:nvSpPr>
          <p:spPr>
            <a:xfrm>
              <a:off x="122329" y="1851670"/>
              <a:ext cx="705255" cy="5539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914040"/>
              <a:r>
                <a:rPr lang="nb-NO" sz="600" dirty="0" smtClean="0">
                  <a:solidFill>
                    <a:prstClr val="black"/>
                  </a:solidFill>
                </a:rPr>
                <a:t>Gjennomføringsstyring som mål/oppdrag og øremerking av midler</a:t>
              </a:r>
              <a:endParaRPr lang="nb-NO" sz="600" dirty="0">
                <a:solidFill>
                  <a:prstClr val="black"/>
                </a:solidFill>
              </a:endParaRPr>
            </a:p>
          </p:txBody>
        </p:sp>
        <p:sp>
          <p:nvSpPr>
            <p:cNvPr id="110" name="TekstSylinder 109"/>
            <p:cNvSpPr txBox="1"/>
            <p:nvPr/>
          </p:nvSpPr>
          <p:spPr>
            <a:xfrm>
              <a:off x="130997" y="1249527"/>
              <a:ext cx="696587" cy="200055"/>
            </a:xfrm>
            <a:prstGeom prst="rect">
              <a:avLst/>
            </a:prstGeom>
            <a:noFill/>
            <a:ln>
              <a:solidFill>
                <a:schemeClr val="tx1"/>
              </a:solidFill>
            </a:ln>
          </p:spPr>
          <p:txBody>
            <a:bodyPr wrap="square" rtlCol="0" anchor="ctr">
              <a:noAutofit/>
            </a:bodyPr>
            <a:lstStyle/>
            <a:p>
              <a:pPr algn="ctr" defTabSz="914400"/>
              <a:r>
                <a:rPr lang="nb-NO" sz="1100" b="1" dirty="0" smtClean="0">
                  <a:solidFill>
                    <a:prstClr val="black"/>
                  </a:solidFill>
                </a:rPr>
                <a:t>HOD</a:t>
              </a:r>
              <a:endParaRPr lang="nb-NO" sz="1100" b="1" dirty="0">
                <a:solidFill>
                  <a:prstClr val="black"/>
                </a:solidFill>
              </a:endParaRPr>
            </a:p>
          </p:txBody>
        </p:sp>
        <p:sp>
          <p:nvSpPr>
            <p:cNvPr id="112" name="TekstSylinder 111"/>
            <p:cNvSpPr txBox="1"/>
            <p:nvPr/>
          </p:nvSpPr>
          <p:spPr>
            <a:xfrm>
              <a:off x="130997" y="1498307"/>
              <a:ext cx="696587" cy="369332"/>
            </a:xfrm>
            <a:prstGeom prst="rect">
              <a:avLst/>
            </a:prstGeom>
            <a:noFill/>
            <a:ln>
              <a:solidFill>
                <a:schemeClr val="tx1"/>
              </a:solidFill>
            </a:ln>
          </p:spPr>
          <p:txBody>
            <a:bodyPr wrap="square" rtlCol="0" anchor="ctr">
              <a:spAutoFit/>
            </a:bodyPr>
            <a:lstStyle/>
            <a:p>
              <a:pPr algn="ctr" defTabSz="914400"/>
              <a:r>
                <a:rPr lang="nb-NO" sz="900" b="1" dirty="0" smtClean="0">
                  <a:solidFill>
                    <a:prstClr val="black"/>
                  </a:solidFill>
                </a:rPr>
                <a:t>RHF/ etater</a:t>
              </a:r>
              <a:endParaRPr lang="nb-NO" sz="900" b="1" dirty="0">
                <a:solidFill>
                  <a:prstClr val="black"/>
                </a:solidFill>
              </a:endParaRPr>
            </a:p>
          </p:txBody>
        </p:sp>
        <p:cxnSp>
          <p:nvCxnSpPr>
            <p:cNvPr id="113" name="Rett linje 112"/>
            <p:cNvCxnSpPr>
              <a:stCxn id="110" idx="2"/>
              <a:endCxn id="112" idx="0"/>
            </p:cNvCxnSpPr>
            <p:nvPr/>
          </p:nvCxnSpPr>
          <p:spPr>
            <a:xfrm>
              <a:off x="479291" y="1449582"/>
              <a:ext cx="0" cy="48725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18" name="TekstSylinder 117"/>
            <p:cNvSpPr txBox="1"/>
            <p:nvPr/>
          </p:nvSpPr>
          <p:spPr>
            <a:xfrm>
              <a:off x="911338" y="1249527"/>
              <a:ext cx="696587" cy="200055"/>
            </a:xfrm>
            <a:prstGeom prst="rect">
              <a:avLst/>
            </a:prstGeom>
            <a:noFill/>
            <a:ln>
              <a:solidFill>
                <a:schemeClr val="tx1"/>
              </a:solidFill>
            </a:ln>
          </p:spPr>
          <p:txBody>
            <a:bodyPr wrap="square" rtlCol="0" anchor="ctr">
              <a:noAutofit/>
            </a:bodyPr>
            <a:lstStyle/>
            <a:p>
              <a:pPr algn="ctr" defTabSz="914400"/>
              <a:r>
                <a:rPr lang="nb-NO" sz="1100" b="1" dirty="0" smtClean="0">
                  <a:solidFill>
                    <a:prstClr val="black"/>
                  </a:solidFill>
                </a:rPr>
                <a:t>Storting</a:t>
              </a:r>
              <a:endParaRPr lang="nb-NO" sz="1100" b="1" dirty="0">
                <a:solidFill>
                  <a:prstClr val="black"/>
                </a:solidFill>
              </a:endParaRPr>
            </a:p>
          </p:txBody>
        </p:sp>
        <p:sp>
          <p:nvSpPr>
            <p:cNvPr id="119" name="TekstSylinder 118"/>
            <p:cNvSpPr txBox="1"/>
            <p:nvPr/>
          </p:nvSpPr>
          <p:spPr>
            <a:xfrm>
              <a:off x="911338" y="1498306"/>
              <a:ext cx="696587" cy="375429"/>
            </a:xfrm>
            <a:prstGeom prst="rect">
              <a:avLst/>
            </a:prstGeom>
            <a:noFill/>
            <a:ln>
              <a:solidFill>
                <a:schemeClr val="tx1"/>
              </a:solidFill>
            </a:ln>
          </p:spPr>
          <p:txBody>
            <a:bodyPr wrap="square" rtlCol="0" anchor="ctr">
              <a:noAutofit/>
            </a:bodyPr>
            <a:lstStyle/>
            <a:p>
              <a:pPr algn="ctr" defTabSz="914400"/>
              <a:r>
                <a:rPr lang="nb-NO" sz="800" b="1" dirty="0" smtClean="0">
                  <a:solidFill>
                    <a:prstClr val="black"/>
                  </a:solidFill>
                </a:rPr>
                <a:t>Kommuner</a:t>
              </a:r>
              <a:endParaRPr lang="nb-NO" sz="800" b="1" dirty="0">
                <a:solidFill>
                  <a:prstClr val="black"/>
                </a:solidFill>
              </a:endParaRPr>
            </a:p>
          </p:txBody>
        </p:sp>
        <p:cxnSp>
          <p:nvCxnSpPr>
            <p:cNvPr id="120" name="Rett linje 119"/>
            <p:cNvCxnSpPr>
              <a:stCxn id="118" idx="2"/>
              <a:endCxn id="119" idx="0"/>
            </p:cNvCxnSpPr>
            <p:nvPr/>
          </p:nvCxnSpPr>
          <p:spPr>
            <a:xfrm>
              <a:off x="1259632" y="1449582"/>
              <a:ext cx="0" cy="48724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1" name="TekstSylinder 120"/>
            <p:cNvSpPr txBox="1"/>
            <p:nvPr/>
          </p:nvSpPr>
          <p:spPr>
            <a:xfrm>
              <a:off x="894876" y="1851670"/>
              <a:ext cx="705255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914040"/>
              <a:r>
                <a:rPr lang="nb-NO" sz="600" dirty="0" smtClean="0">
                  <a:solidFill>
                    <a:prstClr val="black"/>
                  </a:solidFill>
                </a:rPr>
                <a:t>Gjennomføringsstyring som forskrift samt bevilgning</a:t>
              </a:r>
              <a:endParaRPr lang="nb-NO" sz="600" dirty="0">
                <a:solidFill>
                  <a:prstClr val="black"/>
                </a:solidFill>
              </a:endParaRPr>
            </a:p>
          </p:txBody>
        </p:sp>
        <p:sp>
          <p:nvSpPr>
            <p:cNvPr id="278" name="TekstSylinder 142"/>
            <p:cNvSpPr txBox="1"/>
            <p:nvPr/>
          </p:nvSpPr>
          <p:spPr>
            <a:xfrm>
              <a:off x="3587381" y="4171895"/>
              <a:ext cx="696587" cy="200055"/>
            </a:xfrm>
            <a:prstGeom prst="rect">
              <a:avLst/>
            </a:prstGeom>
            <a:noFill/>
            <a:ln>
              <a:solidFill>
                <a:schemeClr val="tx1"/>
              </a:solidFill>
            </a:ln>
          </p:spPr>
          <p:txBody>
            <a:bodyPr wrap="square" rtlCol="0" anchor="ctr">
              <a:noAutofit/>
            </a:bodyPr>
            <a:lstStyle/>
            <a:p>
              <a:pPr algn="ctr" defTabSz="914400"/>
              <a:r>
                <a:rPr lang="nb-NO" sz="1100" b="1" dirty="0" smtClean="0">
                  <a:solidFill>
                    <a:prstClr val="black"/>
                  </a:solidFill>
                </a:rPr>
                <a:t>RHF</a:t>
              </a:r>
              <a:endParaRPr lang="nb-NO" sz="1100" b="1" dirty="0">
                <a:solidFill>
                  <a:prstClr val="black"/>
                </a:solidFill>
              </a:endParaRPr>
            </a:p>
          </p:txBody>
        </p:sp>
        <p:sp>
          <p:nvSpPr>
            <p:cNvPr id="279" name="TekstSylinder 146"/>
            <p:cNvSpPr txBox="1"/>
            <p:nvPr/>
          </p:nvSpPr>
          <p:spPr>
            <a:xfrm>
              <a:off x="3587379" y="4387919"/>
              <a:ext cx="696587" cy="200055"/>
            </a:xfrm>
            <a:prstGeom prst="rect">
              <a:avLst/>
            </a:prstGeom>
            <a:noFill/>
            <a:ln>
              <a:solidFill>
                <a:schemeClr val="tx1"/>
              </a:solidFill>
            </a:ln>
          </p:spPr>
          <p:txBody>
            <a:bodyPr wrap="square" rtlCol="0">
              <a:noAutofit/>
            </a:bodyPr>
            <a:lstStyle/>
            <a:p>
              <a:pPr algn="ctr" defTabSz="914400"/>
              <a:r>
                <a:rPr lang="nb-NO" sz="800" b="1" dirty="0" smtClean="0">
                  <a:solidFill>
                    <a:prstClr val="black"/>
                  </a:solidFill>
                </a:rPr>
                <a:t>Kommune</a:t>
              </a:r>
              <a:endParaRPr lang="nb-NO" sz="800" b="1" dirty="0">
                <a:solidFill>
                  <a:prstClr val="black"/>
                </a:solidFill>
              </a:endParaRPr>
            </a:p>
          </p:txBody>
        </p:sp>
        <p:sp>
          <p:nvSpPr>
            <p:cNvPr id="281" name="TekstSylinder 85"/>
            <p:cNvSpPr txBox="1"/>
            <p:nvPr/>
          </p:nvSpPr>
          <p:spPr>
            <a:xfrm>
              <a:off x="1152958" y="4083918"/>
              <a:ext cx="1008467" cy="498141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txBody>
            <a:bodyPr wrap="square" rtlCol="0">
              <a:noAutofit/>
            </a:bodyPr>
            <a:lstStyle/>
            <a:p>
              <a:pPr defTabSz="914400"/>
              <a:r>
                <a:rPr lang="nb-NO" sz="900" b="1" dirty="0" smtClean="0">
                  <a:solidFill>
                    <a:prstClr val="black"/>
                  </a:solidFill>
                </a:rPr>
                <a:t>Tjenesteeiere</a:t>
              </a:r>
            </a:p>
            <a:p>
              <a:pPr defTabSz="914400"/>
              <a:r>
                <a:rPr lang="nb-NO" sz="900" b="1" dirty="0" smtClean="0">
                  <a:solidFill>
                    <a:prstClr val="black"/>
                  </a:solidFill>
                </a:rPr>
                <a:t>RHF</a:t>
              </a:r>
            </a:p>
          </p:txBody>
        </p:sp>
        <p:sp>
          <p:nvSpPr>
            <p:cNvPr id="282" name="TekstSylinder 85"/>
            <p:cNvSpPr txBox="1"/>
            <p:nvPr/>
          </p:nvSpPr>
          <p:spPr>
            <a:xfrm>
              <a:off x="2267389" y="4083918"/>
              <a:ext cx="1008467" cy="507831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txBody>
            <a:bodyPr wrap="square" rtlCol="0">
              <a:noAutofit/>
            </a:bodyPr>
            <a:lstStyle/>
            <a:p>
              <a:pPr defTabSz="914400"/>
              <a:r>
                <a:rPr lang="nb-NO" sz="900" b="1" dirty="0" smtClean="0">
                  <a:solidFill>
                    <a:prstClr val="black"/>
                  </a:solidFill>
                </a:rPr>
                <a:t>Tjenesteeiere</a:t>
              </a:r>
            </a:p>
            <a:p>
              <a:pPr defTabSz="914400"/>
              <a:r>
                <a:rPr lang="nb-NO" sz="900" b="1" dirty="0" smtClean="0">
                  <a:solidFill>
                    <a:prstClr val="black"/>
                  </a:solidFill>
                </a:rPr>
                <a:t>Kommune</a:t>
              </a:r>
            </a:p>
          </p:txBody>
        </p:sp>
        <p:sp>
          <p:nvSpPr>
            <p:cNvPr id="283" name="TekstSylinder 85"/>
            <p:cNvSpPr txBox="1"/>
            <p:nvPr/>
          </p:nvSpPr>
          <p:spPr>
            <a:xfrm>
              <a:off x="35496" y="4881759"/>
              <a:ext cx="3237756" cy="214046"/>
            </a:xfrm>
            <a:prstGeom prst="rect">
              <a:avLst/>
            </a:prstGeom>
            <a:solidFill>
              <a:schemeClr val="accent1"/>
            </a:solidFill>
            <a:ln>
              <a:solidFill>
                <a:schemeClr val="tx1"/>
              </a:solidFill>
            </a:ln>
          </p:spPr>
          <p:txBody>
            <a:bodyPr wrap="square" rtlCol="0">
              <a:noAutofit/>
            </a:bodyPr>
            <a:lstStyle/>
            <a:p>
              <a:pPr algn="ctr" defTabSz="914400"/>
              <a:r>
                <a:rPr lang="nb-NO" sz="600" dirty="0" smtClean="0">
                  <a:solidFill>
                    <a:prstClr val="black"/>
                  </a:solidFill>
                </a:rPr>
                <a:t>Bruker-/faggrupper</a:t>
              </a:r>
              <a:endParaRPr lang="nb-NO" sz="600" dirty="0">
                <a:solidFill>
                  <a:prstClr val="black"/>
                </a:solidFill>
              </a:endParaRPr>
            </a:p>
          </p:txBody>
        </p:sp>
        <p:sp>
          <p:nvSpPr>
            <p:cNvPr id="284" name="TekstSylinder 85"/>
            <p:cNvSpPr txBox="1"/>
            <p:nvPr/>
          </p:nvSpPr>
          <p:spPr>
            <a:xfrm>
              <a:off x="35495" y="4627462"/>
              <a:ext cx="1008468" cy="214046"/>
            </a:xfrm>
            <a:prstGeom prst="rect">
              <a:avLst/>
            </a:prstGeom>
            <a:solidFill>
              <a:schemeClr val="accent1"/>
            </a:solidFill>
            <a:ln>
              <a:solidFill>
                <a:schemeClr val="tx1"/>
              </a:solidFill>
            </a:ln>
          </p:spPr>
          <p:txBody>
            <a:bodyPr wrap="square" rtlCol="0">
              <a:noAutofit/>
            </a:bodyPr>
            <a:lstStyle/>
            <a:p>
              <a:pPr defTabSz="914400"/>
              <a:r>
                <a:rPr lang="nb-NO" sz="600" dirty="0" smtClean="0">
                  <a:solidFill>
                    <a:prstClr val="black"/>
                  </a:solidFill>
                </a:rPr>
                <a:t>Bruker-/faggrupper</a:t>
              </a:r>
              <a:endParaRPr lang="nb-NO" sz="600" dirty="0">
                <a:solidFill>
                  <a:prstClr val="black"/>
                </a:solidFill>
              </a:endParaRPr>
            </a:p>
          </p:txBody>
        </p:sp>
        <p:sp>
          <p:nvSpPr>
            <p:cNvPr id="285" name="TekstSylinder 53"/>
            <p:cNvSpPr txBox="1"/>
            <p:nvPr/>
          </p:nvSpPr>
          <p:spPr>
            <a:xfrm>
              <a:off x="35496" y="3610941"/>
              <a:ext cx="3197263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914400"/>
              <a:r>
                <a:rPr lang="nb-NO" sz="900" dirty="0" smtClean="0">
                  <a:solidFill>
                    <a:prstClr val="black"/>
                  </a:solidFill>
                </a:rPr>
                <a:t>Prosjektgjennomføring og IKT forvaltning skjer gjennom styring og deltagelse fra virksomhetene:</a:t>
              </a:r>
              <a:endParaRPr lang="nb-NO" sz="900" dirty="0">
                <a:solidFill>
                  <a:prstClr val="black"/>
                </a:solidFill>
              </a:endParaRPr>
            </a:p>
          </p:txBody>
        </p:sp>
        <p:sp>
          <p:nvSpPr>
            <p:cNvPr id="289" name="Høyre klammeparentes 57"/>
            <p:cNvSpPr/>
            <p:nvPr/>
          </p:nvSpPr>
          <p:spPr>
            <a:xfrm>
              <a:off x="3273252" y="4627462"/>
              <a:ext cx="146620" cy="468343"/>
            </a:xfrm>
            <a:prstGeom prst="rightBrac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defTabSz="914400"/>
              <a:endParaRPr lang="nb-NO">
                <a:solidFill>
                  <a:prstClr val="black"/>
                </a:solidFill>
              </a:endParaRPr>
            </a:p>
          </p:txBody>
        </p:sp>
        <p:sp>
          <p:nvSpPr>
            <p:cNvPr id="292" name="Høyre klammeparentes 185"/>
            <p:cNvSpPr/>
            <p:nvPr/>
          </p:nvSpPr>
          <p:spPr>
            <a:xfrm>
              <a:off x="3276034" y="4090730"/>
              <a:ext cx="143838" cy="491329"/>
            </a:xfrm>
            <a:prstGeom prst="rightBrac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defTabSz="914400"/>
              <a:endParaRPr lang="nb-NO">
                <a:solidFill>
                  <a:prstClr val="black"/>
                </a:solidFill>
              </a:endParaRPr>
            </a:p>
          </p:txBody>
        </p:sp>
        <p:cxnSp>
          <p:nvCxnSpPr>
            <p:cNvPr id="293" name="Rett pil 186"/>
            <p:cNvCxnSpPr/>
            <p:nvPr/>
          </p:nvCxnSpPr>
          <p:spPr>
            <a:xfrm>
              <a:off x="3337821" y="4324901"/>
              <a:ext cx="298363" cy="0"/>
            </a:xfrm>
            <a:prstGeom prst="straightConnector1">
              <a:avLst/>
            </a:prstGeom>
            <a:ln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Rett pil 186"/>
            <p:cNvCxnSpPr/>
            <p:nvPr/>
          </p:nvCxnSpPr>
          <p:spPr>
            <a:xfrm>
              <a:off x="3337821" y="4863899"/>
              <a:ext cx="298363" cy="0"/>
            </a:xfrm>
            <a:prstGeom prst="straightConnector1">
              <a:avLst/>
            </a:prstGeom>
            <a:ln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0" name="TekstSylinder 85"/>
            <p:cNvSpPr txBox="1"/>
            <p:nvPr/>
          </p:nvSpPr>
          <p:spPr>
            <a:xfrm>
              <a:off x="35141" y="4083918"/>
              <a:ext cx="1008467" cy="498141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txBody>
            <a:bodyPr wrap="square" rtlCol="0">
              <a:noAutofit/>
            </a:bodyPr>
            <a:lstStyle/>
            <a:p>
              <a:pPr defTabSz="914400"/>
              <a:r>
                <a:rPr lang="nb-NO" sz="900" b="1" dirty="0" smtClean="0">
                  <a:solidFill>
                    <a:prstClr val="black"/>
                  </a:solidFill>
                </a:rPr>
                <a:t>Tjenesteeiere</a:t>
              </a:r>
            </a:p>
            <a:p>
              <a:pPr defTabSz="914400"/>
              <a:r>
                <a:rPr lang="nb-NO" sz="900" b="1" dirty="0" smtClean="0">
                  <a:solidFill>
                    <a:prstClr val="black"/>
                  </a:solidFill>
                </a:rPr>
                <a:t>Helse-forvaltningen</a:t>
              </a:r>
            </a:p>
          </p:txBody>
        </p:sp>
        <p:sp>
          <p:nvSpPr>
            <p:cNvPr id="141" name="TekstSylinder 85"/>
            <p:cNvSpPr txBox="1"/>
            <p:nvPr/>
          </p:nvSpPr>
          <p:spPr>
            <a:xfrm>
              <a:off x="1152957" y="4627462"/>
              <a:ext cx="1008468" cy="214046"/>
            </a:xfrm>
            <a:prstGeom prst="rect">
              <a:avLst/>
            </a:prstGeom>
            <a:solidFill>
              <a:schemeClr val="accent1"/>
            </a:solidFill>
            <a:ln>
              <a:solidFill>
                <a:schemeClr val="tx1"/>
              </a:solidFill>
            </a:ln>
          </p:spPr>
          <p:txBody>
            <a:bodyPr wrap="square" rtlCol="0">
              <a:noAutofit/>
            </a:bodyPr>
            <a:lstStyle/>
            <a:p>
              <a:pPr defTabSz="914400"/>
              <a:r>
                <a:rPr lang="nb-NO" sz="600" dirty="0" smtClean="0">
                  <a:solidFill>
                    <a:prstClr val="black"/>
                  </a:solidFill>
                </a:rPr>
                <a:t>Bruker-/faggrupper</a:t>
              </a:r>
              <a:endParaRPr lang="nb-NO" sz="600" dirty="0">
                <a:solidFill>
                  <a:prstClr val="black"/>
                </a:solidFill>
              </a:endParaRPr>
            </a:p>
          </p:txBody>
        </p:sp>
        <p:sp>
          <p:nvSpPr>
            <p:cNvPr id="143" name="TekstSylinder 85"/>
            <p:cNvSpPr txBox="1"/>
            <p:nvPr/>
          </p:nvSpPr>
          <p:spPr>
            <a:xfrm>
              <a:off x="2267566" y="4627462"/>
              <a:ext cx="1008468" cy="214046"/>
            </a:xfrm>
            <a:prstGeom prst="rect">
              <a:avLst/>
            </a:prstGeom>
            <a:solidFill>
              <a:schemeClr val="accent1"/>
            </a:solidFill>
            <a:ln>
              <a:solidFill>
                <a:schemeClr val="tx1"/>
              </a:solidFill>
            </a:ln>
          </p:spPr>
          <p:txBody>
            <a:bodyPr wrap="square" rtlCol="0">
              <a:noAutofit/>
            </a:bodyPr>
            <a:lstStyle/>
            <a:p>
              <a:pPr defTabSz="914400"/>
              <a:r>
                <a:rPr lang="nb-NO" sz="600" dirty="0" smtClean="0">
                  <a:solidFill>
                    <a:prstClr val="black"/>
                  </a:solidFill>
                </a:rPr>
                <a:t>Bruker-/faggrupper</a:t>
              </a:r>
              <a:endParaRPr lang="nb-NO" sz="600" dirty="0">
                <a:solidFill>
                  <a:prstClr val="black"/>
                </a:solidFill>
              </a:endParaRPr>
            </a:p>
          </p:txBody>
        </p:sp>
        <p:sp>
          <p:nvSpPr>
            <p:cNvPr id="144" name="TekstSylinder 142"/>
            <p:cNvSpPr txBox="1"/>
            <p:nvPr/>
          </p:nvSpPr>
          <p:spPr>
            <a:xfrm>
              <a:off x="3587381" y="3955871"/>
              <a:ext cx="696587" cy="200055"/>
            </a:xfrm>
            <a:prstGeom prst="rect">
              <a:avLst/>
            </a:prstGeom>
            <a:noFill/>
            <a:ln>
              <a:solidFill>
                <a:schemeClr val="tx1"/>
              </a:solidFill>
            </a:ln>
          </p:spPr>
          <p:txBody>
            <a:bodyPr wrap="square" rtlCol="0" anchor="ctr">
              <a:noAutofit/>
            </a:bodyPr>
            <a:lstStyle/>
            <a:p>
              <a:pPr algn="ctr" defTabSz="914400"/>
              <a:r>
                <a:rPr lang="nb-NO" sz="700" b="1" dirty="0" smtClean="0">
                  <a:solidFill>
                    <a:prstClr val="black"/>
                  </a:solidFill>
                </a:rPr>
                <a:t>Helse forvaltningen</a:t>
              </a:r>
              <a:endParaRPr lang="nb-NO" sz="700" b="1" dirty="0">
                <a:solidFill>
                  <a:prstClr val="black"/>
                </a:solidFill>
              </a:endParaRPr>
            </a:p>
          </p:txBody>
        </p:sp>
      </p:grpSp>
      <p:grpSp>
        <p:nvGrpSpPr>
          <p:cNvPr id="43" name="Gruppe 42"/>
          <p:cNvGrpSpPr/>
          <p:nvPr/>
        </p:nvGrpSpPr>
        <p:grpSpPr>
          <a:xfrm>
            <a:off x="827584" y="52390"/>
            <a:ext cx="8352928" cy="2138744"/>
            <a:chOff x="827584" y="51470"/>
            <a:chExt cx="8352928" cy="2138744"/>
          </a:xfrm>
        </p:grpSpPr>
        <p:sp>
          <p:nvSpPr>
            <p:cNvPr id="107" name="TekstSylinder 106"/>
            <p:cNvSpPr txBox="1"/>
            <p:nvPr/>
          </p:nvSpPr>
          <p:spPr>
            <a:xfrm>
              <a:off x="827584" y="195486"/>
              <a:ext cx="2020940" cy="57708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914400"/>
              <a:r>
                <a:rPr lang="nb-NO" sz="1050" b="1" i="1" dirty="0" smtClean="0">
                  <a:solidFill>
                    <a:prstClr val="black"/>
                  </a:solidFill>
                </a:rPr>
                <a:t>Pasientforløp og praksis </a:t>
              </a:r>
              <a:r>
                <a:rPr lang="nb-NO" sz="1050" i="1" dirty="0" smtClean="0">
                  <a:solidFill>
                    <a:prstClr val="black"/>
                  </a:solidFill>
                </a:rPr>
                <a:t>Nasjonale rammer for operasjonalisering (HDIR)</a:t>
              </a:r>
              <a:endParaRPr lang="nb-NO" sz="1050" i="1" dirty="0">
                <a:solidFill>
                  <a:prstClr val="black"/>
                </a:solidFill>
              </a:endParaRPr>
            </a:p>
          </p:txBody>
        </p:sp>
        <p:sp>
          <p:nvSpPr>
            <p:cNvPr id="25" name="TekstSylinder 24"/>
            <p:cNvSpPr txBox="1"/>
            <p:nvPr/>
          </p:nvSpPr>
          <p:spPr>
            <a:xfrm>
              <a:off x="4323760" y="51470"/>
              <a:ext cx="696587" cy="200055"/>
            </a:xfrm>
            <a:prstGeom prst="rect">
              <a:avLst/>
            </a:prstGeom>
            <a:noFill/>
            <a:ln>
              <a:solidFill>
                <a:schemeClr val="tx1"/>
              </a:solidFill>
            </a:ln>
          </p:spPr>
          <p:txBody>
            <a:bodyPr wrap="square" rtlCol="0" anchor="ctr">
              <a:noAutofit/>
            </a:bodyPr>
            <a:lstStyle/>
            <a:p>
              <a:pPr algn="ctr" defTabSz="914400"/>
              <a:r>
                <a:rPr lang="nb-NO" sz="1100" b="1" dirty="0" smtClean="0">
                  <a:solidFill>
                    <a:prstClr val="black"/>
                  </a:solidFill>
                </a:rPr>
                <a:t>HOD</a:t>
              </a:r>
              <a:endParaRPr lang="nb-NO" sz="1100" b="1" dirty="0">
                <a:solidFill>
                  <a:prstClr val="black"/>
                </a:solidFill>
              </a:endParaRPr>
            </a:p>
          </p:txBody>
        </p:sp>
        <p:sp>
          <p:nvSpPr>
            <p:cNvPr id="102" name="TekstSylinder 101"/>
            <p:cNvSpPr txBox="1"/>
            <p:nvPr/>
          </p:nvSpPr>
          <p:spPr>
            <a:xfrm>
              <a:off x="4323760" y="300250"/>
              <a:ext cx="696587" cy="255783"/>
            </a:xfrm>
            <a:prstGeom prst="rect">
              <a:avLst/>
            </a:prstGeom>
            <a:noFill/>
            <a:ln>
              <a:solidFill>
                <a:schemeClr val="tx1"/>
              </a:solidFill>
            </a:ln>
          </p:spPr>
          <p:txBody>
            <a:bodyPr wrap="square" rtlCol="0" anchor="ctr">
              <a:noAutofit/>
            </a:bodyPr>
            <a:lstStyle/>
            <a:p>
              <a:pPr algn="ctr" defTabSz="914400"/>
              <a:r>
                <a:rPr lang="nb-NO" sz="700" b="1" dirty="0" smtClean="0">
                  <a:solidFill>
                    <a:prstClr val="black"/>
                  </a:solidFill>
                </a:rPr>
                <a:t>Direktoratet for </a:t>
              </a:r>
              <a:r>
                <a:rPr lang="nb-NO" sz="700" b="1" dirty="0" err="1" smtClean="0">
                  <a:solidFill>
                    <a:prstClr val="black"/>
                  </a:solidFill>
                </a:rPr>
                <a:t>eHelse</a:t>
              </a:r>
              <a:endParaRPr lang="nb-NO" sz="700" b="1" dirty="0">
                <a:solidFill>
                  <a:prstClr val="black"/>
                </a:solidFill>
              </a:endParaRPr>
            </a:p>
          </p:txBody>
        </p:sp>
        <p:sp>
          <p:nvSpPr>
            <p:cNvPr id="106" name="TekstSylinder 105"/>
            <p:cNvSpPr txBox="1"/>
            <p:nvPr/>
          </p:nvSpPr>
          <p:spPr>
            <a:xfrm>
              <a:off x="4961502" y="267494"/>
              <a:ext cx="2304256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914040"/>
              <a:r>
                <a:rPr lang="nb-NO" sz="600" dirty="0" smtClean="0">
                  <a:solidFill>
                    <a:prstClr val="black"/>
                  </a:solidFill>
                </a:rPr>
                <a:t>Leder utvalgene og  er sekretariat for </a:t>
              </a:r>
              <a:r>
                <a:rPr lang="nb-NO" sz="600" dirty="0" err="1" smtClean="0">
                  <a:solidFill>
                    <a:prstClr val="black"/>
                  </a:solidFill>
                </a:rPr>
                <a:t>eHelse</a:t>
              </a:r>
              <a:r>
                <a:rPr lang="nb-NO" sz="600" dirty="0" smtClean="0">
                  <a:solidFill>
                    <a:prstClr val="black"/>
                  </a:solidFill>
                </a:rPr>
                <a:t> styret</a:t>
              </a:r>
            </a:p>
            <a:p>
              <a:pPr defTabSz="914040"/>
              <a:r>
                <a:rPr lang="nb-NO" sz="600" dirty="0" smtClean="0">
                  <a:solidFill>
                    <a:prstClr val="black"/>
                  </a:solidFill>
                </a:rPr>
                <a:t>Overleverer innstillinger til HOD etter behandling i </a:t>
              </a:r>
              <a:r>
                <a:rPr lang="nb-NO" sz="600" dirty="0" err="1" smtClean="0">
                  <a:solidFill>
                    <a:prstClr val="black"/>
                  </a:solidFill>
                </a:rPr>
                <a:t>eHelse</a:t>
              </a:r>
              <a:r>
                <a:rPr lang="nb-NO" sz="600" dirty="0" smtClean="0">
                  <a:solidFill>
                    <a:prstClr val="black"/>
                  </a:solidFill>
                </a:rPr>
                <a:t> styret.</a:t>
              </a:r>
            </a:p>
          </p:txBody>
        </p:sp>
        <p:sp>
          <p:nvSpPr>
            <p:cNvPr id="108" name="TekstSylinder 107"/>
            <p:cNvSpPr txBox="1"/>
            <p:nvPr/>
          </p:nvSpPr>
          <p:spPr>
            <a:xfrm>
              <a:off x="4961502" y="51470"/>
              <a:ext cx="2304256" cy="18466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914040"/>
              <a:r>
                <a:rPr lang="nb-NO" sz="600" dirty="0" smtClean="0">
                  <a:solidFill>
                    <a:prstClr val="black"/>
                  </a:solidFill>
                </a:rPr>
                <a:t>Bestiller innspill til politikkutforming og gir rammer.</a:t>
              </a:r>
            </a:p>
          </p:txBody>
        </p:sp>
        <p:sp>
          <p:nvSpPr>
            <p:cNvPr id="109" name="Rektangel 108"/>
            <p:cNvSpPr/>
            <p:nvPr/>
          </p:nvSpPr>
          <p:spPr>
            <a:xfrm>
              <a:off x="2812284" y="627534"/>
              <a:ext cx="3672408" cy="344724"/>
            </a:xfrm>
            <a:prstGeom prst="rect">
              <a:avLst/>
            </a:prstGeom>
            <a:solidFill>
              <a:schemeClr val="accent2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30" tIns="45715" rIns="91430" bIns="45715" rtlCol="0" anchor="ctr"/>
            <a:lstStyle/>
            <a:p>
              <a:pPr algn="ctr" defTabSz="913936"/>
              <a:r>
                <a:rPr lang="nb-NO" sz="1600" b="1" err="1">
                  <a:solidFill>
                    <a:prstClr val="black"/>
                  </a:solidFill>
                </a:rPr>
                <a:t>eHelse</a:t>
              </a:r>
              <a:r>
                <a:rPr lang="nb-NO" sz="1600" b="1">
                  <a:solidFill>
                    <a:prstClr val="black"/>
                  </a:solidFill>
                </a:rPr>
                <a:t> styre</a:t>
              </a:r>
              <a:endParaRPr lang="nb-NO" sz="1600" dirty="0">
                <a:solidFill>
                  <a:prstClr val="black"/>
                </a:solidFill>
              </a:endParaRPr>
            </a:p>
          </p:txBody>
        </p:sp>
        <p:sp>
          <p:nvSpPr>
            <p:cNvPr id="111" name="TekstSylinder 110"/>
            <p:cNvSpPr txBox="1"/>
            <p:nvPr/>
          </p:nvSpPr>
          <p:spPr>
            <a:xfrm>
              <a:off x="6404308" y="483518"/>
              <a:ext cx="2776204" cy="707876"/>
            </a:xfrm>
            <a:prstGeom prst="rect">
              <a:avLst/>
            </a:prstGeom>
            <a:noFill/>
          </p:spPr>
          <p:txBody>
            <a:bodyPr wrap="square" lIns="91430" tIns="45715" rIns="91430" bIns="45715" rtlCol="0">
              <a:spAutoFit/>
            </a:bodyPr>
            <a:lstStyle/>
            <a:p>
              <a:r>
                <a:rPr lang="nb-NO" sz="800" dirty="0" smtClean="0">
                  <a:solidFill>
                    <a:prstClr val="black"/>
                  </a:solidFill>
                </a:rPr>
                <a:t>Beslutter nasjonal </a:t>
              </a:r>
              <a:r>
                <a:rPr lang="nb-NO" sz="800" dirty="0">
                  <a:solidFill>
                    <a:prstClr val="black"/>
                  </a:solidFill>
                </a:rPr>
                <a:t>e-helsestrategi,  rullerende treårige planer, oppstart og finansiering av nasjonale prosjekter, arkitektur og standarder, samt IKT leverandørstrategier (</a:t>
              </a:r>
              <a:r>
                <a:rPr lang="nb-NO" sz="800" dirty="0" err="1">
                  <a:solidFill>
                    <a:prstClr val="black"/>
                  </a:solidFill>
                </a:rPr>
                <a:t>sourcingstrategi</a:t>
              </a:r>
              <a:r>
                <a:rPr lang="nb-NO" sz="800" dirty="0">
                  <a:solidFill>
                    <a:prstClr val="black"/>
                  </a:solidFill>
                </a:rPr>
                <a:t>). </a:t>
              </a:r>
            </a:p>
            <a:p>
              <a:r>
                <a:rPr lang="nb-NO" sz="800" dirty="0" smtClean="0">
                  <a:solidFill>
                    <a:prstClr val="black"/>
                  </a:solidFill>
                </a:rPr>
                <a:t>Oppretter</a:t>
              </a:r>
              <a:r>
                <a:rPr lang="nb-NO" sz="800" dirty="0">
                  <a:solidFill>
                    <a:prstClr val="black"/>
                  </a:solidFill>
                </a:rPr>
                <a:t>, gir mandat og delegerer fullmakter til underutvalgene.</a:t>
              </a:r>
            </a:p>
          </p:txBody>
        </p:sp>
        <p:sp>
          <p:nvSpPr>
            <p:cNvPr id="114" name="TekstSylinder 113"/>
            <p:cNvSpPr txBox="1"/>
            <p:nvPr/>
          </p:nvSpPr>
          <p:spPr>
            <a:xfrm>
              <a:off x="2730420" y="915566"/>
              <a:ext cx="3568161" cy="338544"/>
            </a:xfrm>
            <a:prstGeom prst="rect">
              <a:avLst/>
            </a:prstGeom>
            <a:noFill/>
          </p:spPr>
          <p:txBody>
            <a:bodyPr wrap="square" lIns="91430" tIns="45715" rIns="91430" bIns="45715" rtlCol="0">
              <a:spAutoFit/>
            </a:bodyPr>
            <a:lstStyle/>
            <a:p>
              <a:r>
                <a:rPr lang="nb-NO" sz="800" dirty="0">
                  <a:solidFill>
                    <a:prstClr val="black"/>
                  </a:solidFill>
                </a:rPr>
                <a:t>Øverste leder i </a:t>
              </a:r>
              <a:r>
                <a:rPr lang="nb-NO" sz="800" dirty="0" smtClean="0">
                  <a:solidFill>
                    <a:prstClr val="black"/>
                  </a:solidFill>
                </a:rPr>
                <a:t>virksomhetene (KS, 4 Kommuner, RHF, HDIR, FHI, </a:t>
              </a:r>
              <a:r>
                <a:rPr lang="nb-NO" sz="800" dirty="0" err="1" smtClean="0">
                  <a:solidFill>
                    <a:prstClr val="black"/>
                  </a:solidFill>
                </a:rPr>
                <a:t>Dir</a:t>
              </a:r>
              <a:r>
                <a:rPr lang="nb-NO" sz="800" dirty="0" smtClean="0">
                  <a:solidFill>
                    <a:prstClr val="black"/>
                  </a:solidFill>
                </a:rPr>
                <a:t> for </a:t>
              </a:r>
              <a:r>
                <a:rPr lang="nb-NO" sz="800" dirty="0" err="1" smtClean="0">
                  <a:solidFill>
                    <a:prstClr val="black"/>
                  </a:solidFill>
                </a:rPr>
                <a:t>eHelse</a:t>
              </a:r>
              <a:r>
                <a:rPr lang="nb-NO" sz="800" dirty="0" smtClean="0">
                  <a:solidFill>
                    <a:prstClr val="black"/>
                  </a:solidFill>
                </a:rPr>
                <a:t>, brukerrepresentanter)</a:t>
              </a:r>
              <a:endParaRPr lang="nb-NO" sz="800" dirty="0">
                <a:solidFill>
                  <a:prstClr val="black"/>
                </a:solidFill>
              </a:endParaRPr>
            </a:p>
          </p:txBody>
        </p:sp>
        <p:sp>
          <p:nvSpPr>
            <p:cNvPr id="124" name="TekstSylinder 85"/>
            <p:cNvSpPr txBox="1"/>
            <p:nvPr/>
          </p:nvSpPr>
          <p:spPr>
            <a:xfrm>
              <a:off x="2812283" y="1347614"/>
              <a:ext cx="1349439" cy="570149"/>
            </a:xfrm>
            <a:prstGeom prst="rect">
              <a:avLst/>
            </a:prstGeom>
            <a:solidFill>
              <a:srgbClr val="92D050"/>
            </a:solidFill>
            <a:ln>
              <a:solidFill>
                <a:schemeClr val="tx1"/>
              </a:solidFill>
            </a:ln>
          </p:spPr>
          <p:txBody>
            <a:bodyPr wrap="square" lIns="91430" tIns="45715" rIns="91430" bIns="45715" rtlCol="0">
              <a:noAutofit/>
            </a:bodyPr>
            <a:lstStyle/>
            <a:p>
              <a:r>
                <a:rPr lang="nb-NO" sz="1050" b="1" dirty="0" smtClean="0">
                  <a:solidFill>
                    <a:prstClr val="black"/>
                  </a:solidFill>
                </a:rPr>
                <a:t>Utvalg for</a:t>
              </a:r>
            </a:p>
            <a:p>
              <a:r>
                <a:rPr lang="nb-NO" sz="1050" b="1" dirty="0" smtClean="0">
                  <a:solidFill>
                    <a:prstClr val="black"/>
                  </a:solidFill>
                </a:rPr>
                <a:t>Strategi- </a:t>
              </a:r>
              <a:r>
                <a:rPr lang="nb-NO" sz="1050" b="1" dirty="0">
                  <a:solidFill>
                    <a:prstClr val="black"/>
                  </a:solidFill>
                </a:rPr>
                <a:t>og </a:t>
              </a:r>
              <a:r>
                <a:rPr lang="nb-NO" sz="1050" b="1" dirty="0" smtClean="0">
                  <a:solidFill>
                    <a:prstClr val="black"/>
                  </a:solidFill>
                </a:rPr>
                <a:t>porteføljestyring</a:t>
              </a:r>
              <a:endParaRPr lang="nb-NO" sz="1050" b="1" dirty="0">
                <a:solidFill>
                  <a:prstClr val="black"/>
                </a:solidFill>
              </a:endParaRPr>
            </a:p>
          </p:txBody>
        </p:sp>
        <p:sp>
          <p:nvSpPr>
            <p:cNvPr id="125" name="TekstSylinder 85"/>
            <p:cNvSpPr txBox="1"/>
            <p:nvPr/>
          </p:nvSpPr>
          <p:spPr>
            <a:xfrm>
              <a:off x="5088557" y="1347614"/>
              <a:ext cx="1396135" cy="570149"/>
            </a:xfrm>
            <a:prstGeom prst="rect">
              <a:avLst/>
            </a:prstGeom>
            <a:solidFill>
              <a:srgbClr val="92D050"/>
            </a:solidFill>
            <a:ln>
              <a:solidFill>
                <a:schemeClr val="tx1"/>
              </a:solidFill>
            </a:ln>
          </p:spPr>
          <p:txBody>
            <a:bodyPr wrap="square" lIns="91430" tIns="45715" rIns="91430" bIns="45715" rtlCol="0">
              <a:noAutofit/>
            </a:bodyPr>
            <a:lstStyle/>
            <a:p>
              <a:r>
                <a:rPr lang="nb-NO" sz="1050" b="1" dirty="0" smtClean="0">
                  <a:solidFill>
                    <a:prstClr val="black"/>
                  </a:solidFill>
                </a:rPr>
                <a:t>Utvalg for</a:t>
              </a:r>
            </a:p>
            <a:p>
              <a:r>
                <a:rPr lang="nb-NO" sz="1050" b="1" dirty="0" smtClean="0">
                  <a:solidFill>
                    <a:prstClr val="black"/>
                  </a:solidFill>
                </a:rPr>
                <a:t>Helsefag, arkitektur og standarder</a:t>
              </a:r>
              <a:endParaRPr lang="nb-NO" sz="1050" dirty="0">
                <a:solidFill>
                  <a:prstClr val="black"/>
                </a:solidFill>
              </a:endParaRPr>
            </a:p>
          </p:txBody>
        </p:sp>
        <p:cxnSp>
          <p:nvCxnSpPr>
            <p:cNvPr id="126" name="Vinkel 125"/>
            <p:cNvCxnSpPr>
              <a:stCxn id="109" idx="2"/>
              <a:endCxn id="124" idx="0"/>
            </p:cNvCxnSpPr>
            <p:nvPr/>
          </p:nvCxnSpPr>
          <p:spPr>
            <a:xfrm rot="5400000">
              <a:off x="3880068" y="579194"/>
              <a:ext cx="375356" cy="1161485"/>
            </a:xfrm>
            <a:prstGeom prst="bentConnector3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Vinkel 126"/>
            <p:cNvCxnSpPr>
              <a:stCxn id="109" idx="2"/>
              <a:endCxn id="125" idx="0"/>
            </p:cNvCxnSpPr>
            <p:nvPr/>
          </p:nvCxnSpPr>
          <p:spPr>
            <a:xfrm rot="16200000" flipH="1">
              <a:off x="5029878" y="590867"/>
              <a:ext cx="375356" cy="1138137"/>
            </a:xfrm>
            <a:prstGeom prst="bentConnector3">
              <a:avLst>
                <a:gd name="adj1" fmla="val 50000"/>
              </a:avLst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8" name="TekstSylinder 127"/>
            <p:cNvSpPr txBox="1"/>
            <p:nvPr/>
          </p:nvSpPr>
          <p:spPr>
            <a:xfrm>
              <a:off x="6391113" y="1373410"/>
              <a:ext cx="1375897" cy="461655"/>
            </a:xfrm>
            <a:prstGeom prst="rect">
              <a:avLst/>
            </a:prstGeom>
            <a:noFill/>
          </p:spPr>
          <p:txBody>
            <a:bodyPr wrap="square" lIns="91430" tIns="45715" rIns="91430" bIns="45715" rtlCol="0">
              <a:spAutoFit/>
            </a:bodyPr>
            <a:lstStyle/>
            <a:p>
              <a:r>
                <a:rPr lang="nb-NO" sz="800" dirty="0" smtClean="0">
                  <a:solidFill>
                    <a:prstClr val="black"/>
                  </a:solidFill>
                </a:rPr>
                <a:t>Overordnete </a:t>
              </a:r>
              <a:r>
                <a:rPr lang="nb-NO" sz="800" dirty="0">
                  <a:solidFill>
                    <a:prstClr val="black"/>
                  </a:solidFill>
                </a:rPr>
                <a:t>faglige </a:t>
              </a:r>
              <a:r>
                <a:rPr lang="nb-NO" sz="800" dirty="0" smtClean="0">
                  <a:solidFill>
                    <a:prstClr val="black"/>
                  </a:solidFill>
                </a:rPr>
                <a:t>føringer og premisser, kan </a:t>
              </a:r>
              <a:r>
                <a:rPr lang="nb-NO" sz="800" dirty="0">
                  <a:solidFill>
                    <a:prstClr val="black"/>
                  </a:solidFill>
                </a:rPr>
                <a:t>opprette ulike ekspertgrupper</a:t>
              </a:r>
              <a:endParaRPr lang="nb-NO" sz="700" dirty="0">
                <a:solidFill>
                  <a:prstClr val="black"/>
                </a:solidFill>
              </a:endParaRPr>
            </a:p>
          </p:txBody>
        </p:sp>
        <p:sp>
          <p:nvSpPr>
            <p:cNvPr id="129" name="TekstSylinder 128"/>
            <p:cNvSpPr txBox="1"/>
            <p:nvPr/>
          </p:nvSpPr>
          <p:spPr>
            <a:xfrm>
              <a:off x="5025819" y="1875748"/>
              <a:ext cx="1584177" cy="215433"/>
            </a:xfrm>
            <a:prstGeom prst="rect">
              <a:avLst/>
            </a:prstGeom>
            <a:noFill/>
          </p:spPr>
          <p:txBody>
            <a:bodyPr wrap="square" lIns="91430" tIns="45715" rIns="91430" bIns="45715" rtlCol="0">
              <a:spAutoFit/>
            </a:bodyPr>
            <a:lstStyle/>
            <a:p>
              <a:r>
                <a:rPr lang="nb-NO" sz="800" dirty="0" smtClean="0">
                  <a:solidFill>
                    <a:prstClr val="black"/>
                  </a:solidFill>
                </a:rPr>
                <a:t>Senior fagpersoner fra aktørene </a:t>
              </a:r>
              <a:endParaRPr lang="nb-NO" sz="800" dirty="0">
                <a:solidFill>
                  <a:prstClr val="black"/>
                </a:solidFill>
              </a:endParaRPr>
            </a:p>
          </p:txBody>
        </p:sp>
        <p:sp>
          <p:nvSpPr>
            <p:cNvPr id="130" name="TekstSylinder 129"/>
            <p:cNvSpPr txBox="1"/>
            <p:nvPr/>
          </p:nvSpPr>
          <p:spPr>
            <a:xfrm>
              <a:off x="1936954" y="1347614"/>
              <a:ext cx="1482918" cy="584765"/>
            </a:xfrm>
            <a:prstGeom prst="rect">
              <a:avLst/>
            </a:prstGeom>
            <a:noFill/>
          </p:spPr>
          <p:txBody>
            <a:bodyPr wrap="square" lIns="91430" tIns="45715" rIns="91430" bIns="45715" rtlCol="0">
              <a:spAutoFit/>
            </a:bodyPr>
            <a:lstStyle/>
            <a:p>
              <a:r>
                <a:rPr lang="nb-NO" sz="800" dirty="0">
                  <a:solidFill>
                    <a:prstClr val="black"/>
                  </a:solidFill>
                </a:rPr>
                <a:t>Strategiutforming, handlingsplaner, </a:t>
              </a:r>
              <a:r>
                <a:rPr lang="nb-NO" sz="800" dirty="0" smtClean="0">
                  <a:solidFill>
                    <a:prstClr val="black"/>
                  </a:solidFill>
                </a:rPr>
                <a:t>porteføljestyring,</a:t>
              </a:r>
            </a:p>
            <a:p>
              <a:r>
                <a:rPr lang="nb-NO" sz="800" dirty="0" smtClean="0">
                  <a:solidFill>
                    <a:prstClr val="black"/>
                  </a:solidFill>
                </a:rPr>
                <a:t>forvaltingsstyring</a:t>
              </a:r>
              <a:endParaRPr lang="nb-NO" sz="800" dirty="0">
                <a:solidFill>
                  <a:prstClr val="black"/>
                </a:solidFill>
              </a:endParaRPr>
            </a:p>
          </p:txBody>
        </p:sp>
        <p:cxnSp>
          <p:nvCxnSpPr>
            <p:cNvPr id="131" name="Rett pil 162"/>
            <p:cNvCxnSpPr>
              <a:stCxn id="124" idx="3"/>
              <a:endCxn id="125" idx="1"/>
            </p:cNvCxnSpPr>
            <p:nvPr/>
          </p:nvCxnSpPr>
          <p:spPr>
            <a:xfrm>
              <a:off x="4161722" y="1632689"/>
              <a:ext cx="926835" cy="0"/>
            </a:xfrm>
            <a:prstGeom prst="straightConnector1">
              <a:avLst/>
            </a:prstGeom>
            <a:ln>
              <a:solidFill>
                <a:schemeClr val="tx1"/>
              </a:solidFill>
              <a:prstDash val="dash"/>
              <a:headEnd type="arrow"/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2" name="TekstSylinder 131"/>
            <p:cNvSpPr txBox="1"/>
            <p:nvPr/>
          </p:nvSpPr>
          <p:spPr>
            <a:xfrm>
              <a:off x="2720450" y="1851670"/>
              <a:ext cx="1995566" cy="338544"/>
            </a:xfrm>
            <a:prstGeom prst="rect">
              <a:avLst/>
            </a:prstGeom>
            <a:noFill/>
          </p:spPr>
          <p:txBody>
            <a:bodyPr wrap="square" lIns="91430" tIns="45715" rIns="91430" bIns="45715" rtlCol="0">
              <a:spAutoFit/>
            </a:bodyPr>
            <a:lstStyle/>
            <a:p>
              <a:r>
                <a:rPr lang="nb-NO" sz="800" dirty="0">
                  <a:solidFill>
                    <a:srgbClr val="00546E">
                      <a:lumMod val="50000"/>
                    </a:srgbClr>
                  </a:solidFill>
                </a:rPr>
                <a:t>P</a:t>
              </a:r>
              <a:r>
                <a:rPr lang="nb-NO" sz="800" dirty="0" smtClean="0">
                  <a:solidFill>
                    <a:srgbClr val="00546E">
                      <a:lumMod val="50000"/>
                    </a:srgbClr>
                  </a:solidFill>
                </a:rPr>
                <a:t>ersoner </a:t>
              </a:r>
              <a:r>
                <a:rPr lang="nb-NO" sz="800" dirty="0">
                  <a:solidFill>
                    <a:srgbClr val="00546E">
                      <a:lumMod val="50000"/>
                    </a:srgbClr>
                  </a:solidFill>
                </a:rPr>
                <a:t>med tilstrekkelig myndighet innenfor e-helsestrategi og </a:t>
              </a:r>
              <a:r>
                <a:rPr lang="nb-NO" sz="800" dirty="0" smtClean="0">
                  <a:solidFill>
                    <a:srgbClr val="00546E">
                      <a:lumMod val="50000"/>
                    </a:srgbClr>
                  </a:solidFill>
                </a:rPr>
                <a:t>IKT</a:t>
              </a:r>
              <a:endParaRPr lang="nb-NO" sz="800" dirty="0">
                <a:solidFill>
                  <a:prstClr val="black"/>
                </a:solidFill>
              </a:endParaRPr>
            </a:p>
          </p:txBody>
        </p:sp>
        <p:cxnSp>
          <p:nvCxnSpPr>
            <p:cNvPr id="133" name="Rett linje 132"/>
            <p:cNvCxnSpPr>
              <a:stCxn id="102" idx="0"/>
              <a:endCxn id="25" idx="2"/>
            </p:cNvCxnSpPr>
            <p:nvPr/>
          </p:nvCxnSpPr>
          <p:spPr>
            <a:xfrm flipV="1">
              <a:off x="4672054" y="251525"/>
              <a:ext cx="0" cy="48725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5" name="Gruppe 44"/>
          <p:cNvGrpSpPr/>
          <p:nvPr/>
        </p:nvGrpSpPr>
        <p:grpSpPr>
          <a:xfrm>
            <a:off x="5796136" y="1373410"/>
            <a:ext cx="3312368" cy="3728214"/>
            <a:chOff x="5796136" y="1373410"/>
            <a:chExt cx="3312368" cy="3728214"/>
          </a:xfrm>
        </p:grpSpPr>
        <p:sp>
          <p:nvSpPr>
            <p:cNvPr id="50" name="TekstSylinder 49"/>
            <p:cNvSpPr txBox="1"/>
            <p:nvPr/>
          </p:nvSpPr>
          <p:spPr>
            <a:xfrm>
              <a:off x="5796136" y="4124289"/>
              <a:ext cx="1008112" cy="5078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914400"/>
              <a:r>
                <a:rPr lang="nb-NO" sz="900" dirty="0" smtClean="0">
                  <a:solidFill>
                    <a:prstClr val="black"/>
                  </a:solidFill>
                </a:rPr>
                <a:t>Nasjonal «leverandør-funksjon»</a:t>
              </a:r>
              <a:endParaRPr lang="nb-NO" sz="900" dirty="0">
                <a:solidFill>
                  <a:prstClr val="black"/>
                </a:solidFill>
              </a:endParaRPr>
            </a:p>
          </p:txBody>
        </p:sp>
        <p:sp>
          <p:nvSpPr>
            <p:cNvPr id="51" name="TekstSylinder 50"/>
            <p:cNvSpPr txBox="1"/>
            <p:nvPr/>
          </p:nvSpPr>
          <p:spPr>
            <a:xfrm>
              <a:off x="6444208" y="4253497"/>
              <a:ext cx="684076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914400"/>
              <a:r>
                <a:rPr lang="nb-NO" sz="900" dirty="0" smtClean="0">
                  <a:solidFill>
                    <a:prstClr val="black"/>
                  </a:solidFill>
                </a:rPr>
                <a:t>Regionale</a:t>
              </a:r>
              <a:endParaRPr lang="nb-NO" sz="900" dirty="0">
                <a:solidFill>
                  <a:prstClr val="black"/>
                </a:solidFill>
              </a:endParaRPr>
            </a:p>
          </p:txBody>
        </p:sp>
        <p:sp>
          <p:nvSpPr>
            <p:cNvPr id="52" name="TekstSylinder 51"/>
            <p:cNvSpPr txBox="1"/>
            <p:nvPr/>
          </p:nvSpPr>
          <p:spPr>
            <a:xfrm>
              <a:off x="6461140" y="4694035"/>
              <a:ext cx="99118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914400"/>
              <a:r>
                <a:rPr lang="nb-NO" sz="900" dirty="0" smtClean="0">
                  <a:solidFill>
                    <a:prstClr val="white">
                      <a:lumMod val="50000"/>
                    </a:prstClr>
                  </a:solidFill>
                </a:rPr>
                <a:t>Kommunale/</a:t>
              </a:r>
            </a:p>
            <a:p>
              <a:pPr defTabSz="914400"/>
              <a:r>
                <a:rPr lang="nb-NO" sz="900" dirty="0" smtClean="0">
                  <a:solidFill>
                    <a:prstClr val="white">
                      <a:lumMod val="50000"/>
                    </a:prstClr>
                  </a:solidFill>
                </a:rPr>
                <a:t>interkommunale</a:t>
              </a:r>
              <a:endParaRPr lang="nb-NO" sz="900" dirty="0">
                <a:solidFill>
                  <a:prstClr val="white">
                    <a:lumMod val="50000"/>
                  </a:prstClr>
                </a:solidFill>
              </a:endParaRPr>
            </a:p>
          </p:txBody>
        </p:sp>
        <p:cxnSp>
          <p:nvCxnSpPr>
            <p:cNvPr id="55" name="Rett linje 54"/>
            <p:cNvCxnSpPr/>
            <p:nvPr/>
          </p:nvCxnSpPr>
          <p:spPr>
            <a:xfrm>
              <a:off x="8627941" y="3404209"/>
              <a:ext cx="0" cy="1697414"/>
            </a:xfrm>
            <a:prstGeom prst="line">
              <a:avLst/>
            </a:prstGeom>
            <a:ln w="6350">
              <a:solidFill>
                <a:schemeClr val="tx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Rett linje 58"/>
            <p:cNvCxnSpPr/>
            <p:nvPr/>
          </p:nvCxnSpPr>
          <p:spPr>
            <a:xfrm>
              <a:off x="5868144" y="3404209"/>
              <a:ext cx="1610" cy="1697414"/>
            </a:xfrm>
            <a:prstGeom prst="line">
              <a:avLst/>
            </a:prstGeom>
            <a:ln w="6350">
              <a:solidFill>
                <a:schemeClr val="tx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Rett linje 59"/>
            <p:cNvCxnSpPr/>
            <p:nvPr/>
          </p:nvCxnSpPr>
          <p:spPr>
            <a:xfrm>
              <a:off x="6516216" y="4628345"/>
              <a:ext cx="1152128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00" name="TekstSylinder 99"/>
            <p:cNvSpPr txBox="1"/>
            <p:nvPr/>
          </p:nvSpPr>
          <p:spPr>
            <a:xfrm>
              <a:off x="6012160" y="3436426"/>
              <a:ext cx="2482654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914400"/>
              <a:r>
                <a:rPr lang="nb-NO" sz="800" b="1" dirty="0" smtClean="0">
                  <a:solidFill>
                    <a:prstClr val="black"/>
                  </a:solidFill>
                </a:rPr>
                <a:t>Leverandører med nasjonale og lokale IKT tjenester</a:t>
              </a:r>
              <a:endParaRPr lang="nb-NO" sz="800" b="1" dirty="0">
                <a:solidFill>
                  <a:prstClr val="black"/>
                </a:solidFill>
              </a:endParaRPr>
            </a:p>
          </p:txBody>
        </p:sp>
        <p:cxnSp>
          <p:nvCxnSpPr>
            <p:cNvPr id="192" name="Rett linje 191"/>
            <p:cNvCxnSpPr/>
            <p:nvPr/>
          </p:nvCxnSpPr>
          <p:spPr>
            <a:xfrm>
              <a:off x="6516216" y="4124289"/>
              <a:ext cx="1152128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93" name="TekstSylinder 192"/>
            <p:cNvSpPr txBox="1"/>
            <p:nvPr/>
          </p:nvSpPr>
          <p:spPr>
            <a:xfrm>
              <a:off x="6444208" y="3749441"/>
              <a:ext cx="684076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914400"/>
              <a:r>
                <a:rPr lang="nb-NO" sz="900" dirty="0" smtClean="0">
                  <a:solidFill>
                    <a:prstClr val="black"/>
                  </a:solidFill>
                </a:rPr>
                <a:t>Nasjonale</a:t>
              </a:r>
              <a:endParaRPr lang="nb-NO" sz="900" dirty="0">
                <a:solidFill>
                  <a:prstClr val="black"/>
                </a:solidFill>
              </a:endParaRPr>
            </a:p>
          </p:txBody>
        </p:sp>
        <p:cxnSp>
          <p:nvCxnSpPr>
            <p:cNvPr id="194" name="Rett linje 193"/>
            <p:cNvCxnSpPr/>
            <p:nvPr/>
          </p:nvCxnSpPr>
          <p:spPr>
            <a:xfrm flipV="1">
              <a:off x="5869754" y="5092030"/>
              <a:ext cx="2783992" cy="9594"/>
            </a:xfrm>
            <a:prstGeom prst="line">
              <a:avLst/>
            </a:prstGeom>
            <a:ln w="6350">
              <a:solidFill>
                <a:schemeClr val="tx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6" name="Rett linje 195"/>
            <p:cNvCxnSpPr/>
            <p:nvPr/>
          </p:nvCxnSpPr>
          <p:spPr>
            <a:xfrm flipV="1">
              <a:off x="5868144" y="3625309"/>
              <a:ext cx="2759797" cy="5076"/>
            </a:xfrm>
            <a:prstGeom prst="line">
              <a:avLst/>
            </a:prstGeom>
            <a:ln w="6350">
              <a:solidFill>
                <a:schemeClr val="tx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1" name="Rett linje 220"/>
            <p:cNvCxnSpPr/>
            <p:nvPr/>
          </p:nvCxnSpPr>
          <p:spPr>
            <a:xfrm flipH="1">
              <a:off x="6514606" y="3630384"/>
              <a:ext cx="1610" cy="1471239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25" name="TekstSylinder 224"/>
            <p:cNvSpPr txBox="1"/>
            <p:nvPr/>
          </p:nvSpPr>
          <p:spPr>
            <a:xfrm>
              <a:off x="7740352" y="4321428"/>
              <a:ext cx="709870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914400"/>
              <a:r>
                <a:rPr lang="nb-NO" sz="800" dirty="0" smtClean="0">
                  <a:solidFill>
                    <a:prstClr val="black"/>
                  </a:solidFill>
                </a:rPr>
                <a:t>Funksjons-inndeling?</a:t>
              </a:r>
              <a:endParaRPr lang="nb-NO" sz="800" dirty="0">
                <a:solidFill>
                  <a:prstClr val="black"/>
                </a:solidFill>
              </a:endParaRPr>
            </a:p>
          </p:txBody>
        </p:sp>
        <p:sp>
          <p:nvSpPr>
            <p:cNvPr id="226" name="TekstSylinder 225"/>
            <p:cNvSpPr txBox="1"/>
            <p:nvPr/>
          </p:nvSpPr>
          <p:spPr>
            <a:xfrm>
              <a:off x="7740352" y="4753476"/>
              <a:ext cx="709870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914400"/>
              <a:r>
                <a:rPr lang="nb-NO" sz="800" dirty="0" smtClean="0">
                  <a:solidFill>
                    <a:prstClr val="black"/>
                  </a:solidFill>
                </a:rPr>
                <a:t>Geografisk ansvar?</a:t>
              </a:r>
              <a:endParaRPr lang="nb-NO" sz="800" dirty="0">
                <a:solidFill>
                  <a:prstClr val="black"/>
                </a:solidFill>
              </a:endParaRPr>
            </a:p>
          </p:txBody>
        </p:sp>
        <p:sp>
          <p:nvSpPr>
            <p:cNvPr id="228" name="TekstSylinder 227"/>
            <p:cNvSpPr txBox="1"/>
            <p:nvPr/>
          </p:nvSpPr>
          <p:spPr>
            <a:xfrm>
              <a:off x="7092280" y="3666980"/>
              <a:ext cx="537291" cy="20005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914400"/>
              <a:r>
                <a:rPr lang="nb-NO" sz="700" dirty="0" smtClean="0">
                  <a:solidFill>
                    <a:prstClr val="black"/>
                  </a:solidFill>
                </a:rPr>
                <a:t>utvikling</a:t>
              </a:r>
              <a:endParaRPr lang="nb-NO" sz="700" dirty="0">
                <a:solidFill>
                  <a:prstClr val="black"/>
                </a:solidFill>
              </a:endParaRPr>
            </a:p>
          </p:txBody>
        </p:sp>
        <p:sp>
          <p:nvSpPr>
            <p:cNvPr id="229" name="TekstSylinder 228"/>
            <p:cNvSpPr txBox="1"/>
            <p:nvPr/>
          </p:nvSpPr>
          <p:spPr>
            <a:xfrm>
              <a:off x="7092280" y="3780218"/>
              <a:ext cx="720080" cy="20005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914400"/>
              <a:r>
                <a:rPr lang="nb-NO" sz="700" dirty="0" err="1" smtClean="0">
                  <a:solidFill>
                    <a:prstClr val="black"/>
                  </a:solidFill>
                </a:rPr>
                <a:t>tjenesteprod</a:t>
              </a:r>
              <a:endParaRPr lang="nb-NO" sz="700" dirty="0">
                <a:solidFill>
                  <a:prstClr val="black"/>
                </a:solidFill>
              </a:endParaRPr>
            </a:p>
          </p:txBody>
        </p:sp>
        <p:sp>
          <p:nvSpPr>
            <p:cNvPr id="230" name="TekstSylinder 229"/>
            <p:cNvSpPr txBox="1"/>
            <p:nvPr/>
          </p:nvSpPr>
          <p:spPr>
            <a:xfrm>
              <a:off x="7092280" y="3908265"/>
              <a:ext cx="537291" cy="20005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914400"/>
              <a:r>
                <a:rPr lang="nb-NO" sz="700" dirty="0" smtClean="0">
                  <a:solidFill>
                    <a:prstClr val="black"/>
                  </a:solidFill>
                </a:rPr>
                <a:t>drift</a:t>
              </a:r>
              <a:endParaRPr lang="nb-NO" sz="700" dirty="0">
                <a:solidFill>
                  <a:prstClr val="black"/>
                </a:solidFill>
              </a:endParaRPr>
            </a:p>
          </p:txBody>
        </p:sp>
        <p:sp>
          <p:nvSpPr>
            <p:cNvPr id="231" name="TekstSylinder 230"/>
            <p:cNvSpPr txBox="1"/>
            <p:nvPr/>
          </p:nvSpPr>
          <p:spPr>
            <a:xfrm>
              <a:off x="7092280" y="4171036"/>
              <a:ext cx="537291" cy="20005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914400"/>
              <a:r>
                <a:rPr lang="nb-NO" sz="700" dirty="0" smtClean="0">
                  <a:solidFill>
                    <a:prstClr val="black"/>
                  </a:solidFill>
                </a:rPr>
                <a:t>utvikling</a:t>
              </a:r>
              <a:endParaRPr lang="nb-NO" sz="700" dirty="0">
                <a:solidFill>
                  <a:prstClr val="black"/>
                </a:solidFill>
              </a:endParaRPr>
            </a:p>
          </p:txBody>
        </p:sp>
        <p:sp>
          <p:nvSpPr>
            <p:cNvPr id="232" name="TekstSylinder 231"/>
            <p:cNvSpPr txBox="1"/>
            <p:nvPr/>
          </p:nvSpPr>
          <p:spPr>
            <a:xfrm>
              <a:off x="7092280" y="4284274"/>
              <a:ext cx="720080" cy="20005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914400"/>
              <a:r>
                <a:rPr lang="nb-NO" sz="700" dirty="0" err="1" smtClean="0">
                  <a:solidFill>
                    <a:prstClr val="black"/>
                  </a:solidFill>
                </a:rPr>
                <a:t>tjenesteprod</a:t>
              </a:r>
              <a:endParaRPr lang="nb-NO" sz="700" dirty="0">
                <a:solidFill>
                  <a:prstClr val="black"/>
                </a:solidFill>
              </a:endParaRPr>
            </a:p>
          </p:txBody>
        </p:sp>
        <p:sp>
          <p:nvSpPr>
            <p:cNvPr id="233" name="TekstSylinder 232"/>
            <p:cNvSpPr txBox="1"/>
            <p:nvPr/>
          </p:nvSpPr>
          <p:spPr>
            <a:xfrm>
              <a:off x="7092280" y="4412321"/>
              <a:ext cx="537291" cy="20005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914400"/>
              <a:r>
                <a:rPr lang="nb-NO" sz="700" dirty="0" smtClean="0">
                  <a:solidFill>
                    <a:prstClr val="black"/>
                  </a:solidFill>
                </a:rPr>
                <a:t>drift</a:t>
              </a:r>
              <a:endParaRPr lang="nb-NO" sz="700" dirty="0">
                <a:solidFill>
                  <a:prstClr val="black"/>
                </a:solidFill>
              </a:endParaRPr>
            </a:p>
          </p:txBody>
        </p:sp>
        <p:sp>
          <p:nvSpPr>
            <p:cNvPr id="234" name="TekstSylinder 233"/>
            <p:cNvSpPr txBox="1"/>
            <p:nvPr/>
          </p:nvSpPr>
          <p:spPr>
            <a:xfrm>
              <a:off x="7092280" y="4651428"/>
              <a:ext cx="537291" cy="20005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914400"/>
              <a:r>
                <a:rPr lang="nb-NO" sz="700" dirty="0" smtClean="0">
                  <a:solidFill>
                    <a:prstClr val="white">
                      <a:lumMod val="50000"/>
                    </a:prstClr>
                  </a:solidFill>
                </a:rPr>
                <a:t>utvikling</a:t>
              </a:r>
              <a:endParaRPr lang="nb-NO" sz="700" dirty="0">
                <a:solidFill>
                  <a:prstClr val="white">
                    <a:lumMod val="50000"/>
                  </a:prstClr>
                </a:solidFill>
              </a:endParaRPr>
            </a:p>
          </p:txBody>
        </p:sp>
        <p:sp>
          <p:nvSpPr>
            <p:cNvPr id="235" name="TekstSylinder 234"/>
            <p:cNvSpPr txBox="1"/>
            <p:nvPr/>
          </p:nvSpPr>
          <p:spPr>
            <a:xfrm>
              <a:off x="7092280" y="4764666"/>
              <a:ext cx="720080" cy="20005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914400"/>
              <a:r>
                <a:rPr lang="nb-NO" sz="700" dirty="0" err="1" smtClean="0">
                  <a:solidFill>
                    <a:prstClr val="white">
                      <a:lumMod val="50000"/>
                    </a:prstClr>
                  </a:solidFill>
                </a:rPr>
                <a:t>tjenesteprod</a:t>
              </a:r>
              <a:endParaRPr lang="nb-NO" sz="700" dirty="0">
                <a:solidFill>
                  <a:prstClr val="white">
                    <a:lumMod val="50000"/>
                  </a:prstClr>
                </a:solidFill>
              </a:endParaRPr>
            </a:p>
          </p:txBody>
        </p:sp>
        <p:sp>
          <p:nvSpPr>
            <p:cNvPr id="236" name="TekstSylinder 235"/>
            <p:cNvSpPr txBox="1"/>
            <p:nvPr/>
          </p:nvSpPr>
          <p:spPr>
            <a:xfrm>
              <a:off x="7092280" y="4892713"/>
              <a:ext cx="537291" cy="20005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914400"/>
              <a:r>
                <a:rPr lang="nb-NO" sz="700" dirty="0" smtClean="0">
                  <a:solidFill>
                    <a:prstClr val="white">
                      <a:lumMod val="50000"/>
                    </a:prstClr>
                  </a:solidFill>
                </a:rPr>
                <a:t>drift</a:t>
              </a:r>
              <a:endParaRPr lang="nb-NO" sz="700" dirty="0">
                <a:solidFill>
                  <a:prstClr val="white">
                    <a:lumMod val="50000"/>
                  </a:prstClr>
                </a:solidFill>
              </a:endParaRPr>
            </a:p>
          </p:txBody>
        </p:sp>
        <p:cxnSp>
          <p:nvCxnSpPr>
            <p:cNvPr id="246" name="Rett linje 245"/>
            <p:cNvCxnSpPr/>
            <p:nvPr/>
          </p:nvCxnSpPr>
          <p:spPr>
            <a:xfrm>
              <a:off x="5868144" y="2544118"/>
              <a:ext cx="0" cy="333955"/>
            </a:xfrm>
            <a:prstGeom prst="line">
              <a:avLst/>
            </a:prstGeom>
            <a:ln w="6350">
              <a:solidFill>
                <a:schemeClr val="tx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1" name="Rett linje 250"/>
            <p:cNvCxnSpPr/>
            <p:nvPr/>
          </p:nvCxnSpPr>
          <p:spPr>
            <a:xfrm>
              <a:off x="8604448" y="2509492"/>
              <a:ext cx="0" cy="333955"/>
            </a:xfrm>
            <a:prstGeom prst="line">
              <a:avLst/>
            </a:prstGeom>
            <a:ln w="6350">
              <a:solidFill>
                <a:schemeClr val="tx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53" name="TekstSylinder 252"/>
            <p:cNvSpPr txBox="1"/>
            <p:nvPr/>
          </p:nvSpPr>
          <p:spPr>
            <a:xfrm>
              <a:off x="6660232" y="2446025"/>
              <a:ext cx="1800200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914400"/>
              <a:r>
                <a:rPr lang="nb-NO" sz="800" dirty="0" smtClean="0">
                  <a:solidFill>
                    <a:prstClr val="black"/>
                  </a:solidFill>
                </a:rPr>
                <a:t>Oppdragsbrev fra eier av Leverandøren avhengig av organisatorisk tilknytning – men gjenspeiler nasjonal strategi </a:t>
              </a:r>
            </a:p>
          </p:txBody>
        </p:sp>
        <p:cxnSp>
          <p:nvCxnSpPr>
            <p:cNvPr id="257" name="Rett pil 256"/>
            <p:cNvCxnSpPr/>
            <p:nvPr/>
          </p:nvCxnSpPr>
          <p:spPr>
            <a:xfrm>
              <a:off x="7306805" y="3156959"/>
              <a:ext cx="0" cy="125725"/>
            </a:xfrm>
            <a:prstGeom prst="straightConnector1">
              <a:avLst/>
            </a:prstGeom>
            <a:ln>
              <a:solidFill>
                <a:schemeClr val="tx1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16" name="TekstSylinder 115"/>
            <p:cNvSpPr txBox="1"/>
            <p:nvPr/>
          </p:nvSpPr>
          <p:spPr>
            <a:xfrm>
              <a:off x="7691837" y="1759917"/>
              <a:ext cx="696587" cy="307777"/>
            </a:xfrm>
            <a:prstGeom prst="rect">
              <a:avLst/>
            </a:prstGeom>
            <a:noFill/>
            <a:ln>
              <a:solidFill>
                <a:schemeClr val="tx1"/>
              </a:solidFill>
            </a:ln>
          </p:spPr>
          <p:txBody>
            <a:bodyPr wrap="square" rtlCol="0">
              <a:spAutoFit/>
            </a:bodyPr>
            <a:lstStyle/>
            <a:p>
              <a:pPr algn="ctr" defTabSz="914400"/>
              <a:r>
                <a:rPr lang="nb-NO" sz="700" b="1" dirty="0" smtClean="0">
                  <a:solidFill>
                    <a:prstClr val="black"/>
                  </a:solidFill>
                </a:rPr>
                <a:t>Nasjonal leverandør</a:t>
              </a:r>
              <a:endParaRPr lang="nb-NO" sz="700" b="1" dirty="0">
                <a:solidFill>
                  <a:prstClr val="black"/>
                </a:solidFill>
              </a:endParaRPr>
            </a:p>
          </p:txBody>
        </p:sp>
        <p:cxnSp>
          <p:nvCxnSpPr>
            <p:cNvPr id="117" name="Rett linje 116"/>
            <p:cNvCxnSpPr>
              <a:stCxn id="156" idx="2"/>
              <a:endCxn id="116" idx="0"/>
            </p:cNvCxnSpPr>
            <p:nvPr/>
          </p:nvCxnSpPr>
          <p:spPr>
            <a:xfrm>
              <a:off x="8040131" y="1573465"/>
              <a:ext cx="0" cy="186452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3" name="TekstSylinder 122"/>
            <p:cNvSpPr txBox="1"/>
            <p:nvPr/>
          </p:nvSpPr>
          <p:spPr>
            <a:xfrm>
              <a:off x="8411917" y="1759917"/>
              <a:ext cx="696587" cy="307777"/>
            </a:xfrm>
            <a:prstGeom prst="rect">
              <a:avLst/>
            </a:prstGeom>
            <a:noFill/>
            <a:ln>
              <a:solidFill>
                <a:schemeClr val="tx1"/>
              </a:solidFill>
            </a:ln>
          </p:spPr>
          <p:txBody>
            <a:bodyPr wrap="square" rtlCol="0">
              <a:spAutoFit/>
            </a:bodyPr>
            <a:lstStyle/>
            <a:p>
              <a:pPr algn="ctr" defTabSz="914400"/>
              <a:r>
                <a:rPr lang="nb-NO" sz="700" b="1" dirty="0" smtClean="0">
                  <a:solidFill>
                    <a:prstClr val="black"/>
                  </a:solidFill>
                </a:rPr>
                <a:t>Regional leverandør</a:t>
              </a:r>
              <a:endParaRPr lang="nb-NO" sz="700" b="1" dirty="0">
                <a:solidFill>
                  <a:prstClr val="black"/>
                </a:solidFill>
              </a:endParaRPr>
            </a:p>
          </p:txBody>
        </p:sp>
        <p:sp>
          <p:nvSpPr>
            <p:cNvPr id="146" name="TekstSylinder 145"/>
            <p:cNvSpPr txBox="1"/>
            <p:nvPr/>
          </p:nvSpPr>
          <p:spPr>
            <a:xfrm>
              <a:off x="7740351" y="3795886"/>
              <a:ext cx="840603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914400"/>
              <a:r>
                <a:rPr lang="nb-NO" sz="800" dirty="0" smtClean="0">
                  <a:solidFill>
                    <a:prstClr val="black"/>
                  </a:solidFill>
                </a:rPr>
                <a:t>Private leverandører/ partnere</a:t>
              </a:r>
              <a:endParaRPr lang="nb-NO" sz="800" dirty="0">
                <a:solidFill>
                  <a:prstClr val="black"/>
                </a:solidFill>
              </a:endParaRPr>
            </a:p>
          </p:txBody>
        </p:sp>
        <p:cxnSp>
          <p:nvCxnSpPr>
            <p:cNvPr id="149" name="Rett linje 148"/>
            <p:cNvCxnSpPr/>
            <p:nvPr/>
          </p:nvCxnSpPr>
          <p:spPr>
            <a:xfrm>
              <a:off x="7668344" y="3630385"/>
              <a:ext cx="4517" cy="1471238"/>
            </a:xfrm>
            <a:prstGeom prst="line">
              <a:avLst/>
            </a:prstGeom>
            <a:ln w="6350">
              <a:solidFill>
                <a:schemeClr val="tx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56" name="TekstSylinder 155"/>
            <p:cNvSpPr txBox="1"/>
            <p:nvPr/>
          </p:nvSpPr>
          <p:spPr>
            <a:xfrm>
              <a:off x="7691837" y="1373410"/>
              <a:ext cx="696587" cy="200055"/>
            </a:xfrm>
            <a:prstGeom prst="rect">
              <a:avLst/>
            </a:prstGeom>
            <a:noFill/>
            <a:ln>
              <a:solidFill>
                <a:schemeClr val="tx1"/>
              </a:solidFill>
            </a:ln>
          </p:spPr>
          <p:txBody>
            <a:bodyPr wrap="square" rtlCol="0" anchor="ctr">
              <a:noAutofit/>
            </a:bodyPr>
            <a:lstStyle/>
            <a:p>
              <a:pPr algn="ctr" defTabSz="914400"/>
              <a:r>
                <a:rPr lang="nb-NO" sz="1100" b="1" dirty="0" smtClean="0">
                  <a:solidFill>
                    <a:prstClr val="black"/>
                  </a:solidFill>
                </a:rPr>
                <a:t>HOD</a:t>
              </a:r>
              <a:endParaRPr lang="nb-NO" sz="1100" b="1" dirty="0">
                <a:solidFill>
                  <a:prstClr val="black"/>
                </a:solidFill>
              </a:endParaRPr>
            </a:p>
          </p:txBody>
        </p:sp>
        <p:cxnSp>
          <p:nvCxnSpPr>
            <p:cNvPr id="161" name="Rett linje 160"/>
            <p:cNvCxnSpPr>
              <a:stCxn id="162" idx="2"/>
            </p:cNvCxnSpPr>
            <p:nvPr/>
          </p:nvCxnSpPr>
          <p:spPr>
            <a:xfrm>
              <a:off x="8760211" y="1573465"/>
              <a:ext cx="0" cy="186452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62" name="TekstSylinder 161"/>
            <p:cNvSpPr txBox="1"/>
            <p:nvPr/>
          </p:nvSpPr>
          <p:spPr>
            <a:xfrm>
              <a:off x="8411917" y="1373410"/>
              <a:ext cx="696587" cy="200055"/>
            </a:xfrm>
            <a:prstGeom prst="rect">
              <a:avLst/>
            </a:prstGeom>
            <a:noFill/>
            <a:ln>
              <a:solidFill>
                <a:schemeClr val="tx1"/>
              </a:solidFill>
            </a:ln>
          </p:spPr>
          <p:txBody>
            <a:bodyPr wrap="square" rtlCol="0" anchor="ctr">
              <a:noAutofit/>
            </a:bodyPr>
            <a:lstStyle/>
            <a:p>
              <a:pPr algn="ctr" defTabSz="914400"/>
              <a:r>
                <a:rPr lang="nb-NO" sz="1100" b="1" dirty="0" smtClean="0">
                  <a:solidFill>
                    <a:prstClr val="black"/>
                  </a:solidFill>
                </a:rPr>
                <a:t>RHF</a:t>
              </a:r>
              <a:endParaRPr lang="nb-NO" sz="1100" b="1" dirty="0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06612206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" name="Objekt 2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7962780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37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Rektangel 23"/>
          <p:cNvSpPr/>
          <p:nvPr/>
        </p:nvSpPr>
        <p:spPr>
          <a:xfrm>
            <a:off x="107504" y="1923678"/>
            <a:ext cx="3528392" cy="216024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468000" y="51470"/>
            <a:ext cx="8208000" cy="402279"/>
          </a:xfrm>
        </p:spPr>
        <p:txBody>
          <a:bodyPr/>
          <a:lstStyle/>
          <a:p>
            <a:r>
              <a:rPr lang="nb-NO" dirty="0"/>
              <a:t>Nasjonal IKT strategi og -utvikling skal besluttes i nasjonale </a:t>
            </a:r>
            <a:r>
              <a:rPr lang="nb-NO" dirty="0" smtClean="0"/>
              <a:t>fora</a:t>
            </a:r>
            <a:endParaRPr lang="nb-NO" dirty="0"/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3707904" y="1779663"/>
            <a:ext cx="5328592" cy="2952327"/>
          </a:xfrm>
        </p:spPr>
        <p:txBody>
          <a:bodyPr>
            <a:normAutofit fontScale="92500" lnSpcReduction="20000"/>
          </a:bodyPr>
          <a:lstStyle/>
          <a:p>
            <a:r>
              <a:rPr lang="nb-NO" sz="1400" i="1" dirty="0" smtClean="0"/>
              <a:t>«Innstiller til beslutninger»</a:t>
            </a:r>
          </a:p>
          <a:p>
            <a:r>
              <a:rPr lang="nb-NO" sz="1400" dirty="0" smtClean="0"/>
              <a:t>Strategi </a:t>
            </a:r>
            <a:r>
              <a:rPr lang="nb-NO" sz="1400" dirty="0"/>
              <a:t>og rullerende treårig handlingsplan, porteføljestyring, forvaltningsstyring, arkitekturstyring og standardisering (teknisk og semantisk</a:t>
            </a:r>
            <a:r>
              <a:rPr lang="nb-NO" sz="1400" dirty="0" smtClean="0"/>
              <a:t>)</a:t>
            </a:r>
          </a:p>
          <a:p>
            <a:r>
              <a:rPr lang="nb-NO" sz="1400" dirty="0" smtClean="0"/>
              <a:t>Leverandørstrategi</a:t>
            </a:r>
          </a:p>
          <a:p>
            <a:endParaRPr lang="nb-NO" sz="1400" dirty="0" smtClean="0"/>
          </a:p>
          <a:p>
            <a:r>
              <a:rPr lang="nb-NO" sz="1400" dirty="0" smtClean="0"/>
              <a:t>Mandat formaliseres (Helse og omsorgstjenesteloven/ </a:t>
            </a:r>
            <a:r>
              <a:rPr lang="nb-NO" sz="1400" dirty="0" err="1" smtClean="0"/>
              <a:t>evnt</a:t>
            </a:r>
            <a:r>
              <a:rPr lang="nb-NO" sz="1400" dirty="0" smtClean="0"/>
              <a:t> Kommuneloven, oppdragsdokument / tildelingsbrev)</a:t>
            </a:r>
          </a:p>
          <a:p>
            <a:r>
              <a:rPr lang="nb-NO" sz="1400" dirty="0" smtClean="0"/>
              <a:t>KS får en fullmakt til å utpeke representanter fra Kommunene</a:t>
            </a:r>
          </a:p>
          <a:p>
            <a:r>
              <a:rPr lang="nb-NO" sz="1400" dirty="0" smtClean="0"/>
              <a:t>Representasjon formaliseres og forplikter:</a:t>
            </a:r>
          </a:p>
          <a:p>
            <a:pPr lvl="1"/>
            <a:r>
              <a:rPr lang="nb-NO" sz="1300" dirty="0" smtClean="0"/>
              <a:t>Kommuner, AD KS</a:t>
            </a:r>
          </a:p>
          <a:p>
            <a:pPr lvl="1"/>
            <a:r>
              <a:rPr lang="nb-NO" sz="1300" dirty="0" err="1" smtClean="0"/>
              <a:t>RHFene</a:t>
            </a:r>
            <a:endParaRPr lang="nb-NO" sz="1300" dirty="0" smtClean="0"/>
          </a:p>
          <a:p>
            <a:pPr lvl="1"/>
            <a:r>
              <a:rPr lang="nb-NO" sz="1300" dirty="0" smtClean="0"/>
              <a:t>HDIR, Folkehelseinstituttet, Direktorat for </a:t>
            </a:r>
            <a:r>
              <a:rPr lang="nb-NO" sz="1300" dirty="0" err="1" smtClean="0"/>
              <a:t>eHelse</a:t>
            </a:r>
            <a:endParaRPr lang="nb-NO" sz="1300" dirty="0" smtClean="0"/>
          </a:p>
          <a:p>
            <a:pPr lvl="1"/>
            <a:r>
              <a:rPr lang="nb-NO" sz="1300" dirty="0" smtClean="0"/>
              <a:t>Pasient- og brukerforeninger</a:t>
            </a:r>
          </a:p>
          <a:p>
            <a:pPr lvl="1"/>
            <a:r>
              <a:rPr lang="nb-NO" sz="1300" dirty="0" smtClean="0"/>
              <a:t>(HOD bisitter)</a:t>
            </a:r>
          </a:p>
          <a:p>
            <a:pPr lvl="1"/>
            <a:endParaRPr lang="nb-NO" sz="1300" dirty="0" smtClean="0"/>
          </a:p>
          <a:p>
            <a:endParaRPr lang="nb-NO" sz="1400" dirty="0" smtClean="0"/>
          </a:p>
          <a:p>
            <a:endParaRPr lang="nb-NO" sz="1400" dirty="0" smtClean="0"/>
          </a:p>
          <a:p>
            <a:endParaRPr lang="nb-NO" sz="1400" dirty="0"/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nb-NO" dirty="0" smtClean="0"/>
              <a:t>14.09.2015</a:t>
            </a:r>
            <a:endParaRPr lang="nb-NO" dirty="0"/>
          </a:p>
        </p:txBody>
      </p:sp>
      <p:sp>
        <p:nvSpPr>
          <p:cNvPr id="5" name="Plassholder for lysbildenumm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CDA22134-EA94-4B2E-9154-EB8F13265450}" type="slidenum">
              <a:rPr lang="nb-NO" smtClean="0"/>
              <a:pPr/>
              <a:t>8</a:t>
            </a:fld>
            <a:endParaRPr lang="nb-NO" dirty="0"/>
          </a:p>
        </p:txBody>
      </p:sp>
      <p:sp>
        <p:nvSpPr>
          <p:cNvPr id="6" name="Rektangel 5"/>
          <p:cNvSpPr/>
          <p:nvPr/>
        </p:nvSpPr>
        <p:spPr>
          <a:xfrm>
            <a:off x="251522" y="2139702"/>
            <a:ext cx="3196333" cy="344724"/>
          </a:xfrm>
          <a:prstGeom prst="rect">
            <a:avLst/>
          </a:prstGeom>
          <a:solidFill>
            <a:schemeClr val="accent2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0" tIns="45715" rIns="91430" bIns="45715" rtlCol="0" anchor="ctr"/>
          <a:lstStyle/>
          <a:p>
            <a:pPr algn="ctr" defTabSz="913936"/>
            <a:r>
              <a:rPr lang="nb-NO" sz="1600" b="1" err="1">
                <a:solidFill>
                  <a:prstClr val="black"/>
                </a:solidFill>
              </a:rPr>
              <a:t>eHelse</a:t>
            </a:r>
            <a:r>
              <a:rPr lang="nb-NO" sz="1600" b="1">
                <a:solidFill>
                  <a:prstClr val="black"/>
                </a:solidFill>
              </a:rPr>
              <a:t> styre</a:t>
            </a:r>
            <a:endParaRPr lang="nb-NO" sz="1600" dirty="0">
              <a:solidFill>
                <a:prstClr val="black"/>
              </a:solidFill>
            </a:endParaRPr>
          </a:p>
        </p:txBody>
      </p:sp>
      <p:sp>
        <p:nvSpPr>
          <p:cNvPr id="7" name="TekstSylinder 85"/>
          <p:cNvSpPr txBox="1"/>
          <p:nvPr/>
        </p:nvSpPr>
        <p:spPr>
          <a:xfrm>
            <a:off x="165520" y="2859782"/>
            <a:ext cx="1598168" cy="720080"/>
          </a:xfrm>
          <a:prstGeom prst="rect">
            <a:avLst/>
          </a:prstGeom>
          <a:solidFill>
            <a:srgbClr val="92D050"/>
          </a:solidFill>
          <a:ln>
            <a:solidFill>
              <a:schemeClr val="tx1"/>
            </a:solidFill>
          </a:ln>
        </p:spPr>
        <p:txBody>
          <a:bodyPr wrap="square" lIns="91430" tIns="45715" rIns="91430" bIns="45715" rtlCol="0">
            <a:noAutofit/>
          </a:bodyPr>
          <a:lstStyle/>
          <a:p>
            <a:r>
              <a:rPr lang="nb-NO" sz="1400" b="1" dirty="0" smtClean="0">
                <a:solidFill>
                  <a:prstClr val="black"/>
                </a:solidFill>
              </a:rPr>
              <a:t>Utvalg for</a:t>
            </a:r>
          </a:p>
          <a:p>
            <a:r>
              <a:rPr lang="nb-NO" sz="1400" b="1" dirty="0" smtClean="0">
                <a:solidFill>
                  <a:prstClr val="black"/>
                </a:solidFill>
              </a:rPr>
              <a:t>Strategi- </a:t>
            </a:r>
            <a:r>
              <a:rPr lang="nb-NO" sz="1400" b="1" dirty="0">
                <a:solidFill>
                  <a:prstClr val="black"/>
                </a:solidFill>
              </a:rPr>
              <a:t>og </a:t>
            </a:r>
            <a:r>
              <a:rPr lang="nb-NO" sz="1400" b="1" dirty="0" smtClean="0">
                <a:solidFill>
                  <a:prstClr val="black"/>
                </a:solidFill>
              </a:rPr>
              <a:t>porteføljestyring</a:t>
            </a:r>
            <a:endParaRPr lang="nb-NO" sz="1400" b="1" dirty="0">
              <a:solidFill>
                <a:prstClr val="black"/>
              </a:solidFill>
            </a:endParaRPr>
          </a:p>
        </p:txBody>
      </p:sp>
      <p:sp>
        <p:nvSpPr>
          <p:cNvPr id="8" name="TekstSylinder 85"/>
          <p:cNvSpPr txBox="1"/>
          <p:nvPr/>
        </p:nvSpPr>
        <p:spPr>
          <a:xfrm>
            <a:off x="1907704" y="2859782"/>
            <a:ext cx="1653471" cy="720080"/>
          </a:xfrm>
          <a:prstGeom prst="rect">
            <a:avLst/>
          </a:prstGeom>
          <a:solidFill>
            <a:srgbClr val="92D050"/>
          </a:solidFill>
          <a:ln>
            <a:solidFill>
              <a:schemeClr val="tx1"/>
            </a:solidFill>
          </a:ln>
        </p:spPr>
        <p:txBody>
          <a:bodyPr wrap="square" lIns="91430" tIns="45715" rIns="91430" bIns="45715" rtlCol="0">
            <a:noAutofit/>
          </a:bodyPr>
          <a:lstStyle/>
          <a:p>
            <a:r>
              <a:rPr lang="nb-NO" sz="1400" b="1" dirty="0" smtClean="0">
                <a:solidFill>
                  <a:prstClr val="black"/>
                </a:solidFill>
              </a:rPr>
              <a:t>Utvalg for</a:t>
            </a:r>
          </a:p>
          <a:p>
            <a:r>
              <a:rPr lang="nb-NO" sz="1400" b="1" dirty="0" smtClean="0">
                <a:solidFill>
                  <a:prstClr val="black"/>
                </a:solidFill>
              </a:rPr>
              <a:t>Helsefag, arkitektur og standarder</a:t>
            </a:r>
            <a:endParaRPr lang="nb-NO" sz="1400" dirty="0">
              <a:solidFill>
                <a:prstClr val="black"/>
              </a:solidFill>
            </a:endParaRPr>
          </a:p>
        </p:txBody>
      </p:sp>
      <p:cxnSp>
        <p:nvCxnSpPr>
          <p:cNvPr id="9" name="Vinkel 8"/>
          <p:cNvCxnSpPr>
            <a:stCxn id="6" idx="2"/>
            <a:endCxn id="7" idx="0"/>
          </p:cNvCxnSpPr>
          <p:nvPr/>
        </p:nvCxnSpPr>
        <p:spPr>
          <a:xfrm rot="5400000">
            <a:off x="1219469" y="2229562"/>
            <a:ext cx="375356" cy="885085"/>
          </a:xfrm>
          <a:prstGeom prst="bentConnector3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Vinkel 10"/>
          <p:cNvCxnSpPr>
            <a:stCxn id="6" idx="2"/>
            <a:endCxn id="8" idx="0"/>
          </p:cNvCxnSpPr>
          <p:nvPr/>
        </p:nvCxnSpPr>
        <p:spPr>
          <a:xfrm rot="16200000" flipH="1">
            <a:off x="2104386" y="2229728"/>
            <a:ext cx="375356" cy="884751"/>
          </a:xfrm>
          <a:prstGeom prst="bentConnector3">
            <a:avLst>
              <a:gd name="adj1" fmla="val 50000"/>
            </a:avLst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kstSylinder 19"/>
          <p:cNvSpPr txBox="1"/>
          <p:nvPr/>
        </p:nvSpPr>
        <p:spPr>
          <a:xfrm>
            <a:off x="270235" y="3651870"/>
            <a:ext cx="13494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400" dirty="0" smtClean="0"/>
              <a:t>Strategiutvalget</a:t>
            </a:r>
            <a:endParaRPr lang="nb-NO" sz="1400" dirty="0"/>
          </a:p>
        </p:txBody>
      </p:sp>
      <p:sp>
        <p:nvSpPr>
          <p:cNvPr id="21" name="TekstSylinder 20"/>
          <p:cNvSpPr txBox="1"/>
          <p:nvPr/>
        </p:nvSpPr>
        <p:spPr>
          <a:xfrm>
            <a:off x="2195736" y="3651870"/>
            <a:ext cx="13494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400" dirty="0" smtClean="0"/>
              <a:t>Fagutvalget</a:t>
            </a:r>
            <a:endParaRPr lang="nb-NO" sz="1400" dirty="0"/>
          </a:p>
        </p:txBody>
      </p:sp>
      <p:sp>
        <p:nvSpPr>
          <p:cNvPr id="22" name="TekstSylinder 21"/>
          <p:cNvSpPr txBox="1"/>
          <p:nvPr/>
        </p:nvSpPr>
        <p:spPr>
          <a:xfrm>
            <a:off x="1234634" y="627534"/>
            <a:ext cx="1274131" cy="344071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 anchor="ctr">
            <a:noAutofit/>
          </a:bodyPr>
          <a:lstStyle/>
          <a:p>
            <a:pPr algn="ctr" defTabSz="914400"/>
            <a:r>
              <a:rPr lang="nb-NO" b="1" dirty="0" smtClean="0">
                <a:solidFill>
                  <a:prstClr val="black"/>
                </a:solidFill>
              </a:rPr>
              <a:t>HOD</a:t>
            </a:r>
            <a:endParaRPr lang="nb-NO" b="1" dirty="0">
              <a:solidFill>
                <a:prstClr val="black"/>
              </a:solidFill>
            </a:endParaRPr>
          </a:p>
        </p:txBody>
      </p:sp>
      <p:sp>
        <p:nvSpPr>
          <p:cNvPr id="23" name="TekstSylinder 22"/>
          <p:cNvSpPr txBox="1"/>
          <p:nvPr/>
        </p:nvSpPr>
        <p:spPr>
          <a:xfrm>
            <a:off x="1234634" y="1203598"/>
            <a:ext cx="1274131" cy="439917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 anchor="ctr">
            <a:noAutofit/>
          </a:bodyPr>
          <a:lstStyle/>
          <a:p>
            <a:pPr algn="ctr" defTabSz="914400"/>
            <a:r>
              <a:rPr lang="nb-NO" sz="1400" b="1" dirty="0" smtClean="0">
                <a:solidFill>
                  <a:prstClr val="black"/>
                </a:solidFill>
              </a:rPr>
              <a:t>Direktoratet for </a:t>
            </a:r>
            <a:r>
              <a:rPr lang="nb-NO" sz="1400" b="1" dirty="0" err="1" smtClean="0">
                <a:solidFill>
                  <a:prstClr val="black"/>
                </a:solidFill>
              </a:rPr>
              <a:t>eHelse</a:t>
            </a:r>
            <a:endParaRPr lang="nb-NO" sz="1400" b="1" dirty="0">
              <a:solidFill>
                <a:prstClr val="black"/>
              </a:solidFill>
            </a:endParaRPr>
          </a:p>
        </p:txBody>
      </p:sp>
      <p:cxnSp>
        <p:nvCxnSpPr>
          <p:cNvPr id="27" name="Rett linje 26"/>
          <p:cNvCxnSpPr>
            <a:stCxn id="23" idx="2"/>
            <a:endCxn id="24" idx="0"/>
          </p:cNvCxnSpPr>
          <p:nvPr/>
        </p:nvCxnSpPr>
        <p:spPr>
          <a:xfrm>
            <a:off x="1871700" y="1643515"/>
            <a:ext cx="0" cy="280163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Rett linje 29"/>
          <p:cNvCxnSpPr>
            <a:stCxn id="22" idx="2"/>
            <a:endCxn id="23" idx="0"/>
          </p:cNvCxnSpPr>
          <p:nvPr/>
        </p:nvCxnSpPr>
        <p:spPr>
          <a:xfrm>
            <a:off x="1871700" y="971605"/>
            <a:ext cx="0" cy="231993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332588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ssholder for lysbildenumm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CDA22134-EA94-4B2E-9154-EB8F13265450}" type="slidenum">
              <a:rPr lang="nb-NO" smtClean="0"/>
              <a:pPr/>
              <a:t>9</a:t>
            </a:fld>
            <a:endParaRPr lang="nb-NO" dirty="0"/>
          </a:p>
        </p:txBody>
      </p:sp>
      <p:pic>
        <p:nvPicPr>
          <p:cNvPr id="9" name="Bilde 8"/>
          <p:cNvPicPr>
            <a:picLocks noChangeAspect="1"/>
          </p:cNvPicPr>
          <p:nvPr/>
        </p:nvPicPr>
        <p:blipFill>
          <a:blip r:embed="rId2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91331"/>
            <a:ext cx="9144000" cy="4560838"/>
          </a:xfrm>
          <a:prstGeom prst="rect">
            <a:avLst/>
          </a:prstGeom>
        </p:spPr>
      </p:pic>
      <p:sp>
        <p:nvSpPr>
          <p:cNvPr id="2" name="Rektangel 1"/>
          <p:cNvSpPr/>
          <p:nvPr/>
        </p:nvSpPr>
        <p:spPr>
          <a:xfrm>
            <a:off x="2771800" y="2211710"/>
            <a:ext cx="3803092" cy="101566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nb-NO" sz="2400" b="1" dirty="0" smtClean="0"/>
              <a:t>Takk for oppmerksomheten!</a:t>
            </a:r>
          </a:p>
          <a:p>
            <a:pPr algn="ctr"/>
            <a:endParaRPr lang="nb-NO" b="1" dirty="0" smtClean="0"/>
          </a:p>
          <a:p>
            <a:pPr algn="ctr"/>
            <a:r>
              <a:rPr lang="nb-NO" b="1" dirty="0" smtClean="0"/>
              <a:t>christine.bergland@helsedir.no</a:t>
            </a:r>
            <a:endParaRPr lang="nb-NO" b="1" dirty="0"/>
          </a:p>
        </p:txBody>
      </p:sp>
    </p:spTree>
    <p:extLst>
      <p:ext uri="{BB962C8B-B14F-4D97-AF65-F5344CB8AC3E}">
        <p14:creationId xmlns:p14="http://schemas.microsoft.com/office/powerpoint/2010/main" val="13060809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21047&quot;&gt;&lt;version val=&quot;22240&quot;/&gt;&lt;CPresentation id=&quot;1&quot;&gt;&lt;m_precDefaultNumber/&gt;&lt;m_precDefaultPercent/&gt;&lt;m_precDefaultDate/&gt;&lt;m_precDefaultYear&gt;&lt;m_strFormatTime&gt;%Y&lt;/m_strFormatTime&gt;&lt;/m_precDefaultYear&gt;&lt;m_precDefaultQuarter&gt;&lt;m_strFormatTime&gt;Q%5&lt;/m_strFormatTime&gt;&lt;/m_precDefaultQuarter&gt;&lt;m_precDefaultMonth/&gt;&lt;m_precDefaultWeek/&gt;&lt;m_precDefaultDay&gt;&lt;m_strFormatTime&gt;%#d&lt;/m_strFormatTime&gt;&lt;/m_precDefaultDay&gt;&lt;m_mruColor&gt;&lt;m_vecMRU length=&quot;0&quot;/&gt;&lt;/m_mruColor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PPT_16_9_NO">
  <a:themeElements>
    <a:clrScheme name="Helsedir">
      <a:dk1>
        <a:sysClr val="windowText" lastClr="000000"/>
      </a:dk1>
      <a:lt1>
        <a:sysClr val="window" lastClr="FFFFFF"/>
      </a:lt1>
      <a:dk2>
        <a:srgbClr val="00546E"/>
      </a:dk2>
      <a:lt2>
        <a:srgbClr val="EEECE1"/>
      </a:lt2>
      <a:accent1>
        <a:srgbClr val="43BCBA"/>
      </a:accent1>
      <a:accent2>
        <a:srgbClr val="92C431"/>
      </a:accent2>
      <a:accent3>
        <a:srgbClr val="FCD004"/>
      </a:accent3>
      <a:accent4>
        <a:srgbClr val="F19B07"/>
      </a:accent4>
      <a:accent5>
        <a:srgbClr val="E63C28"/>
      </a:accent5>
      <a:accent6>
        <a:srgbClr val="E64B79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0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Egendefinert utforming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1_Egendefinert utforming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2_Egendefinert utforming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3_Egendefinert utforming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4_Egendefinert utforming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5_Egendefinert utforming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8.xml><?xml version="1.0" encoding="utf-8"?>
<a:theme xmlns:a="http://schemas.openxmlformats.org/drawingml/2006/main" name="8_PPT_16_9_NO">
  <a:themeElements>
    <a:clrScheme name="Helsedir">
      <a:dk1>
        <a:sysClr val="windowText" lastClr="000000"/>
      </a:dk1>
      <a:lt1>
        <a:sysClr val="window" lastClr="FFFFFF"/>
      </a:lt1>
      <a:dk2>
        <a:srgbClr val="00546E"/>
      </a:dk2>
      <a:lt2>
        <a:srgbClr val="EEECE1"/>
      </a:lt2>
      <a:accent1>
        <a:srgbClr val="43BCBA"/>
      </a:accent1>
      <a:accent2>
        <a:srgbClr val="92C431"/>
      </a:accent2>
      <a:accent3>
        <a:srgbClr val="FCD004"/>
      </a:accent3>
      <a:accent4>
        <a:srgbClr val="F19B07"/>
      </a:accent4>
      <a:accent5>
        <a:srgbClr val="E63C28"/>
      </a:accent5>
      <a:accent6>
        <a:srgbClr val="E64B79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9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<p:properties xmlns:p="http://schemas.microsoft.com/office/2006/metadata/properties" xmlns:xsi="http://www.w3.org/2001/XMLSchema-instance" xmlns:pc="http://schemas.microsoft.com/office/infopath/2007/PartnerControls"><documentManagement><TaxCatchAll xmlns="75b89f9e-6b2f-420f-8b2e-df7537a23041"/><d612fa292bc74a328f4de84ab4c1ec48 xmlns="$ListId:Delte dokumenter;"><Terms xmlns="http://schemas.microsoft.com/office/infopath/2007/PartnerControls"></Terms></d612fa292bc74a328f4de84ab4c1ec48><je51bce9c3ec4863875d0b660c239f3f xmlns="$ListId:Delte dokumenter;"><Terms xmlns="http://schemas.microsoft.com/office/infopath/2007/PartnerControls"></Terms></je51bce9c3ec4863875d0b660c239f3f><Fag xmlns="$ListId:Delte dokumenter;" xsi:nil="true"></Fag></documentManagement></p:properties>
</file>

<file path=customXml/item2.xml><?xml version="1.0" encoding="utf-8"?><ct:contentTypeSchema ct:_="" ma:_="" ma:contentTypeName="Dokument" ma:contentTypeID="0x010100AE85F3A14367BF4DB35331637901C694" ma:contentTypeVersion="2" ma:contentTypeDescription="Opprett et nytt dokument." ma:contentTypeScope="" ma:versionID="be209668c57d0e5a11c55acbbb2cbfdc" xmlns:ct="http://schemas.microsoft.com/office/2006/metadata/contentType" xmlns:ma="http://schemas.microsoft.com/office/2006/metadata/properties/metaAttributes">
<xsd:schema targetNamespace="http://schemas.microsoft.com/office/2006/metadata/properties" ma:root="true" ma:fieldsID="f510eeb08bf1e6a139dc0ba78bd3efb2" ns3:_="" ns4:_="" xmlns:xsd="http://www.w3.org/2001/XMLSchema" xmlns:xs="http://www.w3.org/2001/XMLSchema" xmlns:p="http://schemas.microsoft.com/office/2006/metadata/properties" xmlns:ns3="$ListId:Delte dokumenter;" xmlns:ns4="75b89f9e-6b2f-420f-8b2e-df7537a23041">
<xsd:import namespace="$ListId:Delte dokumenter;"/>
<xsd:import namespace="75b89f9e-6b2f-420f-8b2e-df7537a23041"/>
<xsd:element name="properties">
<xsd:complexType>
<xsd:sequence>
<xsd:element name="documentManagement">
<xsd:complexType>
<xsd:all>
<xsd:element ref="ns3:je51bce9c3ec4863875d0b660c239f3f" minOccurs="0"/>
<xsd:element ref="ns4:TaxCatchAll" minOccurs="0"/>
<xsd:element ref="ns3:d612fa292bc74a328f4de84ab4c1ec48" minOccurs="0"/>
<xsd:element ref="ns3:Fag" minOccurs="0"/>
</xsd:all>
</xsd:complexType>
</xsd:element>
</xsd:sequence>
</xsd:complexType>
</xsd:element>
</xsd:schema>
<xsd:schema targetNamespace="$ListId:Delte dokumenter;" elementFormDefault="qualified" xmlns:xsd="http://www.w3.org/2001/XMLSchema" xmlns:xs="http://www.w3.org/2001/XMLSchema" xmlns:dms="http://schemas.microsoft.com/office/2006/documentManagement/types" xmlns:pc="http://schemas.microsoft.com/office/infopath/2007/PartnerControls">
<xsd:import namespace="http://schemas.microsoft.com/office/2006/documentManagement/types"/>
<xsd:import namespace="http://schemas.microsoft.com/office/infopath/2007/PartnerControls"/>
<xsd:element name="je51bce9c3ec4863875d0b660c239f3f" ma:index="9" nillable="true" ma:taxonomy="true" ma:internalName="Status_0" ma:taxonomyFieldName="Status" ma:displayName="Status" ma:readOnly="false" ma:default="1;#Kladd|1be9b311-4e47-46ec-9e99-e127da85fd4f" ma:fieldId="{3e51bce9-c3ec-4863-875d-0b660c239f3f}" ma:sspId="42364208-4197-49e3-8c61-0c0105595c27" ma:termSetId="8cfb9880-84a9-4178-9e36-246ddae9b012" ma:anchorId="00000000-0000-0000-0000-000000000000" ma:open="false" ma:isKeyword="false">
<xsd:complexType>
<xsd:sequence>
<xsd:element ref="pc:Terms" minOccurs="0" maxOccurs="1"></xsd:element>
</xsd:sequence>
</xsd:complexType>
</xsd:element>
<xsd:element name="d612fa292bc74a328f4de84ab4c1ec48" ma:index="12" nillable="true" ma:taxonomy="true" ma:internalName="Process_0" ma:taxonomyFieldName="Prosess" ma:displayName="Prosess" ma:default="" ma:fieldId="{d612fa29-2bc7-4a32-8f4d-e84ab4c1ec48}" ma:sspId="42364208-4197-49e3-8c61-0c0105595c27" ma:termSetId="b6754ced-66bf-4d87-9658-6346897dc5c3" ma:anchorId="00000000-0000-0000-0000-000000000000" ma:open="false" ma:isKeyword="false">
<xsd:complexType>
<xsd:sequence>
<xsd:element ref="pc:Terms" minOccurs="0" maxOccurs="1"></xsd:element>
</xsd:sequence>
</xsd:complexType>
</xsd:element>
<xsd:element name="Fag" ma:index="13" nillable="true" ma:displayName="Fag" ma:format="Dropdown" ma:internalName="Fag">
<xsd:simpleType>
<xsd:restriction base="dms:Choice">
<xsd:enumeration value="Valg 1"/>
<xsd:enumeration value="Valg 2"/>
<xsd:enumeration value="Valg 3"/>
</xsd:restriction>
</xsd:simpleType>
</xsd:element>
</xsd:schema>
<xsd:schema targetNamespace="75b89f9e-6b2f-420f-8b2e-df7537a23041" elementFormDefault="qualified" xmlns:xsd="http://www.w3.org/2001/XMLSchema" xmlns:xs="http://www.w3.org/2001/XMLSchema" xmlns:dms="http://schemas.microsoft.com/office/2006/documentManagement/types" xmlns:pc="http://schemas.microsoft.com/office/infopath/2007/PartnerControls">
<xsd:import namespace="http://schemas.microsoft.com/office/2006/documentManagement/types"/>
<xsd:import namespace="http://schemas.microsoft.com/office/infopath/2007/PartnerControls"/>
<xsd:element name="TaxCatchAll" ma:index="10" nillable="true" ma:displayName="Taxonomy Catch All Column" ma:description="" ma:hidden="true" ma:list="{9ac822cd-6bd4-4f38-b738-3bda0c16e48a}" ma:internalName="TaxCatchAll" ma:showField="CatchAllData" ma:web="75b89f9e-6b2f-420f-8b2e-df7537a23041">
<xsd:complexType>
<xsd:complexContent>
<xsd:extension base="dms:MultiChoiceLookup">
<xsd:sequence>
<xsd:element name="Value" type="dms:Lookup" maxOccurs="unbounded" minOccurs="0" nillable="true"/>
</xsd:sequence>
</xsd:extension>
</xsd:complexContent>
</xsd:complexType>
</xsd:element>
</xsd:schema>
<xsd:schema targetNamespace="http://schemas.openxmlformats.org/package/2006/metadata/core-properties" elementFormDefault="qualified" attributeFormDefault="unqualified" blockDefault="#all"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>
<xsd:import namespace="http://purl.org/dc/elements/1.1/" schemaLocation="http://dublincore.org/schemas/xmls/qdc/2003/04/02/dc.xsd"/>
<xsd:import namespace="http://purl.org/dc/terms/" schemaLocation="http://dublincore.org/schemas/xmls/qdc/2003/04/02/dcterms.xsd"/>
<xsd:element name="coreProperties" type="CT_coreProperties"/>
<xsd:complexType name="CT_coreProperties">
<xsd:all>
<xsd:element ref="dc:creator" minOccurs="0" maxOccurs="1"/>
<xsd:element ref="dcterms:created" minOccurs="0" maxOccurs="1"/>
<xsd:element ref="dc:identifier" minOccurs="0" maxOccurs="1"/>
<xsd:element name="contentType" minOccurs="0" maxOccurs="1" type="xsd:string" ma:index="0" ma:displayName="Innholdstype"/>
<xsd:element ref="dc:title" minOccurs="0" maxOccurs="1" ma:index="4" ma:displayName="Tittel"/>
<xsd:element ref="dc:subject" minOccurs="0" maxOccurs="1"/>
<xsd:element ref="dc:description" minOccurs="0" maxOccurs="1"/>
<xsd:element name="keywords" minOccurs="0" maxOccurs="1" type="xsd:string"/>
<xsd:element ref="dc:language" minOccurs="0" maxOccurs="1"/>
<xsd:element name="category" minOccurs="0" maxOccurs="1" type="xsd:string"/>
<xsd:element name="version" minOccurs="0" maxOccurs="1" type="xsd:string"/>
<xsd:element name="revision" minOccurs="0" maxOccurs="1" type="xsd:string">
<xsd:annotation>
<xsd:documentation>
                        This value indicates the number of saves or revisions. The application is responsible for updating this value after each revision.
                    </xsd:documentation>
</xsd:annotation>
</xsd:element>
<xsd:element name="lastModifiedBy" minOccurs="0" maxOccurs="1" type="xsd:string"/>
<xsd:element ref="dcterms:modified" minOccurs="0" maxOccurs="1"/>
<xsd:element name="contentStatus" minOccurs="0" maxOccurs="1" type="xsd:string"/>
</xsd:all>
</xsd:complexType>
</xsd:schema>
<xs:schema targetNamespace="http://schemas.microsoft.com/office/infopath/2007/PartnerControls" elementFormDefault="qualified" attributeFormDefault="unqualified" xmlns:pc="http://schemas.microsoft.com/office/infopath/2007/PartnerControls" xmlns:xs="http://www.w3.org/2001/XMLSchema">
<xs:element name="Person">
<xs:complexType>
<xs:sequence>
<xs:element ref="pc:DisplayName" minOccurs="0"></xs:element>
<xs:element ref="pc:AccountId" minOccurs="0"></xs:element>
<xs:element ref="pc:AccountType" minOccurs="0"></xs:element>
</xs:sequence>
</xs:complexType>
</xs:element>
<xs:element name="DisplayName" type="xs:string"></xs:element>
<xs:element name="AccountId" type="xs:string"></xs:element>
<xs:element name="AccountType" type="xs:string"></xs:element>
<xs:element name="BDCAssociatedEntity">
<xs:complexType>
<xs:sequence>
<xs:element ref="pc:BDCEntity" minOccurs="0" maxOccurs="unbounded"></xs:element>
</xs:sequence>
<xs:attribute ref="pc:EntityNamespace"></xs:attribute>
<xs:attribute ref="pc:EntityName"></xs:attribute>
<xs:attribute ref="pc:SystemInstanceName"></xs:attribute>
<xs:attribute ref="pc:AssociationName"></xs:attribute>
</xs:complexType>
</xs:element>
<xs:attribute name="EntityNamespace" type="xs:string"></xs:attribute>
<xs:attribute name="EntityName" type="xs:string"></xs:attribute>
<xs:attribute name="SystemInstanceName" type="xs:string"></xs:attribute>
<xs:attribute name="AssociationName" type="xs:string"></xs:attribute>
<xs:element name="BDCEntity">
<xs:complexType>
<xs:sequence>
<xs:element ref="pc:EntityDisplayName" minOccurs="0"></xs:element>
<xs:element ref="pc:EntityInstanceReference" minOccurs="0"></xs:element>
<xs:element ref="pc:EntityId1" minOccurs="0"></xs:element>
<xs:element ref="pc:EntityId2" minOccurs="0"></xs:element>
<xs:element ref="pc:EntityId3" minOccurs="0"></xs:element>
<xs:element ref="pc:EntityId4" minOccurs="0"></xs:element>
<xs:element ref="pc:EntityId5" minOccurs="0"></xs:element>
</xs:sequence>
</xs:complexType>
</xs:element>
<xs:element name="EntityDisplayName" type="xs:string"></xs:element>
<xs:element name="EntityInstanceReference" type="xs:string"></xs:element>
<xs:element name="EntityId1" type="xs:string"></xs:element>
<xs:element name="EntityId2" type="xs:string"></xs:element>
<xs:element name="EntityId3" type="xs:string"></xs:element>
<xs:element name="EntityId4" type="xs:string"></xs:element>
<xs:element name="EntityId5" type="xs:string"></xs:element>
<xs:element name="Terms">
<xs:complexType>
<xs:sequence>
<xs:element ref="pc:TermInfo" minOccurs="0" maxOccurs="unbounded"></xs:element>
</xs:sequence>
</xs:complexType>
</xs:element>
<xs:element name="TermInfo">
<xs:complexType>
<xs:sequence>
<xs:element ref="pc:TermName" minOccurs="0"></xs:element>
<xs:element ref="pc:TermId" minOccurs="0"></xs:element>
</xs:sequence>
</xs:complexType>
</xs:element>
<xs:element name="TermName" type="xs:string"></xs:element>
<xs:element name="TermId" type="xs:string"></xs:element>
</xs:schema>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0D47A2B4-F242-4F6E-8240-5896CF084D22}">
  <ds:schemaRefs>
    <ds:schemaRef ds:uri="http://purl.org/dc/terms/"/>
    <ds:schemaRef ds:uri="http://schemas.openxmlformats.org/package/2006/metadata/core-properties"/>
    <ds:schemaRef ds:uri="http://purl.org/dc/dcmitype/"/>
    <ds:schemaRef ds:uri="http://schemas.microsoft.com/office/2006/documentManagement/types"/>
    <ds:schemaRef ds:uri="http://purl.org/dc/elements/1.1/"/>
    <ds:schemaRef ds:uri="http://schemas.microsoft.com/office/2006/metadata/properties"/>
    <ds:schemaRef ds:uri="http://schemas.microsoft.com/office/infopath/2007/PartnerControls"/>
    <ds:schemaRef ds:uri="75b89f9e-6b2f-420f-8b2e-df7537a23041"/>
    <ds:schemaRef ds:uri="$ListId:Delte dokumenter;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75305DC9-F710-4FE1-8E71-07C94E3B9974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$ListId:Delte dokumenter;"/>
    <ds:schemaRef ds:uri="75b89f9e-6b2f-420f-8b2e-df7537a23041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C384A4A4-C8D0-458C-BAC7-8F768193680E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2135</TotalTime>
  <Words>1208</Words>
  <Application>Microsoft Office PowerPoint</Application>
  <PresentationFormat>Skjermfremvisning (16:9)</PresentationFormat>
  <Paragraphs>268</Paragraphs>
  <Slides>9</Slides>
  <Notes>5</Notes>
  <HiddenSlides>0</HiddenSlides>
  <MMClips>0</MMClips>
  <ScaleCrop>false</ScaleCrop>
  <HeadingPairs>
    <vt:vector size="8" baseType="variant">
      <vt:variant>
        <vt:lpstr>Brukte skrifter</vt:lpstr>
      </vt:variant>
      <vt:variant>
        <vt:i4>8</vt:i4>
      </vt:variant>
      <vt:variant>
        <vt:lpstr>Tema</vt:lpstr>
      </vt:variant>
      <vt:variant>
        <vt:i4>8</vt:i4>
      </vt:variant>
      <vt:variant>
        <vt:lpstr>Innebygde OLE-servere</vt:lpstr>
      </vt:variant>
      <vt:variant>
        <vt:i4>1</vt:i4>
      </vt:variant>
      <vt:variant>
        <vt:lpstr>Lysbildetitler</vt:lpstr>
      </vt:variant>
      <vt:variant>
        <vt:i4>9</vt:i4>
      </vt:variant>
    </vt:vector>
  </HeadingPairs>
  <TitlesOfParts>
    <vt:vector size="26" baseType="lpstr">
      <vt:lpstr>ＭＳ Ｐゴシック</vt:lpstr>
      <vt:lpstr>ＭＳ Ｐゴシック</vt:lpstr>
      <vt:lpstr>Arial</vt:lpstr>
      <vt:lpstr>Calibri</vt:lpstr>
      <vt:lpstr>Calibri Light</vt:lpstr>
      <vt:lpstr>Symbol</vt:lpstr>
      <vt:lpstr>Times</vt:lpstr>
      <vt:lpstr>Wingdings</vt:lpstr>
      <vt:lpstr>PPT_16_9_NO</vt:lpstr>
      <vt:lpstr>Egendefinert utforming</vt:lpstr>
      <vt:lpstr>1_Egendefinert utforming</vt:lpstr>
      <vt:lpstr>2_Egendefinert utforming</vt:lpstr>
      <vt:lpstr>3_Egendefinert utforming</vt:lpstr>
      <vt:lpstr>4_Egendefinert utforming</vt:lpstr>
      <vt:lpstr>5_Egendefinert utforming</vt:lpstr>
      <vt:lpstr>8_PPT_16_9_NO</vt:lpstr>
      <vt:lpstr>think-cell Slide</vt:lpstr>
      <vt:lpstr>Frokostmøte Difi</vt:lpstr>
      <vt:lpstr>Noen suksesskriterier</vt:lpstr>
      <vt:lpstr>Ett eksempel…</vt:lpstr>
      <vt:lpstr>Det nasjonale målbildet for digitale innbyggertjenester</vt:lpstr>
      <vt:lpstr>PowerPoint-presentasjon</vt:lpstr>
      <vt:lpstr>PowerPoint-presentasjon</vt:lpstr>
      <vt:lpstr>PowerPoint-presentasjon</vt:lpstr>
      <vt:lpstr>Nasjonal IKT strategi og -utvikling skal besluttes i nasjonale fora</vt:lpstr>
      <vt:lpstr>PowerPoint-presentasjon</vt:lpstr>
    </vt:vector>
  </TitlesOfParts>
  <Company>Helsedirektoratet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Utkast anbefalinger Styrket gjennomføringsevne</dc:title>
  <dc:creator>Nils Gullhaug</dc:creator>
  <cp:lastModifiedBy>Fjørtoft, Elin Kristine</cp:lastModifiedBy>
  <cp:revision>1233</cp:revision>
  <cp:lastPrinted>2015-06-01T09:20:24Z</cp:lastPrinted>
  <dcterms:created xsi:type="dcterms:W3CDTF">2014-03-19T13:52:14Z</dcterms:created>
  <dcterms:modified xsi:type="dcterms:W3CDTF">2015-09-13T20:44:1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E85F3A14367BF4DB35331637901C694</vt:lpwstr>
  </property>
</Properties>
</file>